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notesSlides/notesSlide1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3"/>
    <p:sldMasterId id="2147483794" r:id="rId4"/>
    <p:sldMasterId id="2147483814" r:id="rId5"/>
    <p:sldMasterId id="2147483854" r:id="rId6"/>
    <p:sldMasterId id="2147483883" r:id="rId7"/>
  </p:sldMasterIdLst>
  <p:notesMasterIdLst>
    <p:notesMasterId r:id="rId29"/>
  </p:notesMasterIdLst>
  <p:handoutMasterIdLst>
    <p:handoutMasterId r:id="rId30"/>
  </p:handoutMasterIdLst>
  <p:sldIdLst>
    <p:sldId id="12187" r:id="rId8"/>
    <p:sldId id="12186" r:id="rId9"/>
    <p:sldId id="12168" r:id="rId10"/>
    <p:sldId id="976" r:id="rId11"/>
    <p:sldId id="601" r:id="rId12"/>
    <p:sldId id="285" r:id="rId13"/>
    <p:sldId id="975" r:id="rId14"/>
    <p:sldId id="12208" r:id="rId15"/>
    <p:sldId id="12209" r:id="rId16"/>
    <p:sldId id="12203" r:id="rId17"/>
    <p:sldId id="12210" r:id="rId18"/>
    <p:sldId id="12204" r:id="rId19"/>
    <p:sldId id="12206" r:id="rId20"/>
    <p:sldId id="608" r:id="rId21"/>
    <p:sldId id="609" r:id="rId22"/>
    <p:sldId id="12212" r:id="rId23"/>
    <p:sldId id="12213" r:id="rId24"/>
    <p:sldId id="12199" r:id="rId25"/>
    <p:sldId id="425" r:id="rId26"/>
    <p:sldId id="428" r:id="rId27"/>
    <p:sldId id="496"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BEB"/>
    <a:srgbClr val="355578"/>
    <a:srgbClr val="D0DEEA"/>
    <a:srgbClr val="A1B3CA"/>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C8C6CF-2B99-457F-9131-627D5498AAA3}" v="36" dt="2022-11-29T05:22:05.956"/>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949" autoAdjust="0"/>
  </p:normalViewPr>
  <p:slideViewPr>
    <p:cSldViewPr snapToGrid="0">
      <p:cViewPr varScale="1">
        <p:scale>
          <a:sx n="72" d="100"/>
          <a:sy n="72" d="100"/>
        </p:scale>
        <p:origin x="420" y="56"/>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5.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2CCB91-D8F3-4418-939E-1F527FD2A863}" type="doc">
      <dgm:prSet loTypeId="urn:microsoft.com/office/officeart/2005/8/layout/chevronAccent+Icon" loCatId="officeonline" qsTypeId="urn:microsoft.com/office/officeart/2005/8/quickstyle/simple1" qsCatId="simple" csTypeId="urn:microsoft.com/office/officeart/2005/8/colors/accent1_2" csCatId="accent1" phldr="1"/>
      <dgm:spPr/>
    </dgm:pt>
    <dgm:pt modelId="{97AD78BD-3AA1-4D8C-887B-C3C2AED71CA7}">
      <dgm:prSet phldrT="[Text]" custT="1"/>
      <dgm:spPr/>
      <dgm:t>
        <a:bodyPr/>
        <a:lstStyle/>
        <a:p>
          <a:r>
            <a:rPr lang="en-US" sz="1100" b="1" dirty="0">
              <a:solidFill>
                <a:srgbClr val="002856"/>
              </a:solidFill>
              <a:latin typeface="+mj-lt"/>
              <a:cs typeface="Aharoni" panose="02010803020104030203" pitchFamily="2" charset="-79"/>
            </a:rPr>
            <a:t>Getting Started</a:t>
          </a:r>
        </a:p>
      </dgm:t>
    </dgm:pt>
    <dgm:pt modelId="{7B0B60A2-15D5-4C5B-898B-7DE1B11BD6D2}" type="par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104CA8C-7109-4787-BE3F-FD4589CD774A}" type="sib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9A93E49-1C42-4136-86C7-ACAED7E7AD4C}">
      <dgm:prSet phldrT="[Text]" custT="1"/>
      <dgm:spPr/>
      <dgm:t>
        <a:bodyPr/>
        <a:lstStyle/>
        <a:p>
          <a:r>
            <a:rPr lang="en-IN" sz="1100" b="1" dirty="0">
              <a:solidFill>
                <a:srgbClr val="002856"/>
              </a:solidFill>
              <a:latin typeface="Arial Black" panose="020B0A04020102020204"/>
              <a:ea typeface="+mn-ea"/>
              <a:cs typeface="Aharoni" panose="02010803020104030203" pitchFamily="2" charset="-79"/>
            </a:rPr>
            <a:t>Source and Strategic Spend</a:t>
          </a:r>
          <a:endParaRPr lang="en-US" sz="1100" b="1" dirty="0">
            <a:solidFill>
              <a:srgbClr val="002856"/>
            </a:solidFill>
            <a:latin typeface="+mj-lt"/>
            <a:cs typeface="Aharoni" panose="02010803020104030203" pitchFamily="2" charset="-79"/>
          </a:endParaRPr>
        </a:p>
      </dgm:t>
    </dgm:pt>
    <dgm:pt modelId="{D7201370-0EAE-4479-84AF-B9F0DBFE3D77}" type="par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2A1D510B-4754-401C-84B8-2964C76C76D4}" type="sib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77D2E139-8115-450A-BC5D-674FDBDD79C3}">
      <dgm:prSet phldrT="[Text]" custT="1"/>
      <dgm:spPr/>
      <dgm:t>
        <a:bodyPr/>
        <a:lstStyle/>
        <a:p>
          <a:r>
            <a:rPr lang="en-US" sz="1200" b="1" dirty="0">
              <a:solidFill>
                <a:srgbClr val="002856"/>
              </a:solidFill>
              <a:latin typeface="+mj-lt"/>
              <a:cs typeface="Aharoni" panose="02010803020104030203" pitchFamily="2" charset="-79"/>
            </a:rPr>
            <a:t>IT Security</a:t>
          </a:r>
        </a:p>
      </dgm:t>
    </dgm:pt>
    <dgm:pt modelId="{7B758735-F7B1-4A35-ACB1-9A05A91801E1}" type="par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64232B2E-556E-4676-8A97-10DBADCDBDAF}" type="sib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CAA286D2-4799-4E81-8648-21930F385AA2}">
      <dgm:prSet phldrT="[Text]" custT="1"/>
      <dgm:spPr/>
      <dgm:t>
        <a:bodyPr/>
        <a:lstStyle/>
        <a:p>
          <a:r>
            <a:rPr lang="en-US" sz="1100" b="1" dirty="0">
              <a:solidFill>
                <a:srgbClr val="002856"/>
              </a:solidFill>
              <a:latin typeface="+mj-lt"/>
              <a:cs typeface="Aharoni" panose="02010803020104030203" pitchFamily="2" charset="-79"/>
            </a:rPr>
            <a:t>Technical Functional Spend</a:t>
          </a:r>
        </a:p>
      </dgm:t>
    </dgm:pt>
    <dgm:pt modelId="{04EDFFA4-B0B9-4984-8FF1-469A3C8C5E58}" type="par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4C22C66B-D5D2-48AD-9EB6-8B3AD28473D3}" type="sib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F82314E7-03EC-41C5-91F3-A166DD2065F3}">
      <dgm:prSet phldrT="[Text]" custT="1"/>
      <dgm:spPr/>
      <dgm:t>
        <a:bodyPr/>
        <a:lstStyle/>
        <a:p>
          <a:r>
            <a:rPr lang="en-US" sz="1100" b="1" dirty="0">
              <a:solidFill>
                <a:srgbClr val="002856"/>
              </a:solidFill>
              <a:latin typeface="+mj-lt"/>
              <a:cs typeface="Aharoni" panose="02010803020104030203" pitchFamily="2" charset="-79"/>
            </a:rPr>
            <a:t>Asset Spend</a:t>
          </a:r>
        </a:p>
      </dgm:t>
    </dgm:pt>
    <dgm:pt modelId="{211F6DCD-BA9B-4634-AF81-FBB2F09BE9EE}" type="par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F5C1157D-2D38-44BA-A20C-28D58C2507CE}" type="sib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BAF8C166-54A3-4B16-BCFA-96A460B74D58}">
      <dgm:prSet phldrT="[Text]" custT="1"/>
      <dgm:spPr/>
      <dgm:t>
        <a:bodyPr/>
        <a:lstStyle/>
        <a:p>
          <a:r>
            <a:rPr lang="en-US" sz="1100" b="1" dirty="0">
              <a:solidFill>
                <a:srgbClr val="002856"/>
              </a:solidFill>
              <a:latin typeface="+mj-lt"/>
              <a:cs typeface="Aharoni" panose="02010803020104030203" pitchFamily="2" charset="-79"/>
            </a:rPr>
            <a:t>Technical Function Staff</a:t>
          </a:r>
        </a:p>
      </dgm:t>
    </dgm:pt>
    <dgm:pt modelId="{2326FAC4-E4BC-4890-A260-D46D2F6E8906}" type="par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2A96F43A-9590-4F87-96FF-6D0538018239}" type="sib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42AE7320-DAC1-4F97-8C21-94D895F4315A}">
      <dgm:prSet custT="1"/>
      <dgm:spPr/>
      <dgm:t>
        <a:bodyPr/>
        <a:lstStyle/>
        <a:p>
          <a:r>
            <a:rPr lang="en-US" sz="1200" b="1" dirty="0">
              <a:solidFill>
                <a:schemeClr val="tx2"/>
              </a:solidFill>
              <a:latin typeface="+mj-lt"/>
            </a:rPr>
            <a:t>Data &amp; Analytics</a:t>
          </a:r>
          <a:endParaRPr lang="en-IN" sz="1200" b="1" dirty="0">
            <a:solidFill>
              <a:schemeClr val="tx2"/>
            </a:solidFill>
            <a:latin typeface="+mj-lt"/>
          </a:endParaRPr>
        </a:p>
      </dgm:t>
    </dgm:pt>
    <dgm:pt modelId="{542B7D38-2C48-493B-99C4-B0D39D33E5B9}" type="parTrans" cxnId="{2964131A-CB72-439D-BDAC-FC4205ED0E1C}">
      <dgm:prSet/>
      <dgm:spPr/>
      <dgm:t>
        <a:bodyPr/>
        <a:lstStyle/>
        <a:p>
          <a:endParaRPr lang="en-IN"/>
        </a:p>
      </dgm:t>
    </dgm:pt>
    <dgm:pt modelId="{61A9C0BC-F093-40F7-B49C-1B93E55EE882}" type="sibTrans" cxnId="{2964131A-CB72-439D-BDAC-FC4205ED0E1C}">
      <dgm:prSet/>
      <dgm:spPr/>
      <dgm:t>
        <a:bodyPr/>
        <a:lstStyle/>
        <a:p>
          <a:endParaRPr lang="en-IN"/>
        </a:p>
      </dgm:t>
    </dgm:pt>
    <dgm:pt modelId="{07C23101-F280-4F43-83C2-608280CA4B01}" type="pres">
      <dgm:prSet presAssocID="{0E2CCB91-D8F3-4418-939E-1F527FD2A863}" presName="Name0" presStyleCnt="0">
        <dgm:presLayoutVars>
          <dgm:dir/>
          <dgm:resizeHandles val="exact"/>
        </dgm:presLayoutVars>
      </dgm:prSet>
      <dgm:spPr/>
    </dgm:pt>
    <dgm:pt modelId="{CDAE2071-6381-4A5B-AF1E-933A88217C75}" type="pres">
      <dgm:prSet presAssocID="{97AD78BD-3AA1-4D8C-887B-C3C2AED71CA7}" presName="composite" presStyleCnt="0"/>
      <dgm:spPr/>
    </dgm:pt>
    <dgm:pt modelId="{84C59B59-814E-486B-BC46-C4B403A33581}" type="pres">
      <dgm:prSet presAssocID="{97AD78BD-3AA1-4D8C-887B-C3C2AED71CA7}" presName="bgChev" presStyleLbl="node1" presStyleIdx="0" presStyleCnt="7"/>
      <dgm:spPr>
        <a:solidFill>
          <a:schemeClr val="accent1"/>
        </a:solidFill>
      </dgm:spPr>
    </dgm:pt>
    <dgm:pt modelId="{CCA0A80D-B1A7-49AF-AD2E-D3C2EA89CBD4}" type="pres">
      <dgm:prSet presAssocID="{97AD78BD-3AA1-4D8C-887B-C3C2AED71CA7}" presName="txNode" presStyleLbl="fgAcc1" presStyleIdx="0" presStyleCnt="7">
        <dgm:presLayoutVars>
          <dgm:bulletEnabled val="1"/>
        </dgm:presLayoutVars>
      </dgm:prSet>
      <dgm:spPr/>
    </dgm:pt>
    <dgm:pt modelId="{40DD5F31-C01D-4286-8AA9-9C436D76917E}" type="pres">
      <dgm:prSet presAssocID="{9104CA8C-7109-4787-BE3F-FD4589CD774A}" presName="compositeSpace" presStyleCnt="0"/>
      <dgm:spPr/>
    </dgm:pt>
    <dgm:pt modelId="{33D96F9D-C63B-4C56-92DC-DC24A2AF60BD}" type="pres">
      <dgm:prSet presAssocID="{99A93E49-1C42-4136-86C7-ACAED7E7AD4C}" presName="composite" presStyleCnt="0"/>
      <dgm:spPr/>
    </dgm:pt>
    <dgm:pt modelId="{9DCF820E-FF1C-4244-A914-664296F5734B}" type="pres">
      <dgm:prSet presAssocID="{99A93E49-1C42-4136-86C7-ACAED7E7AD4C}" presName="bgChev" presStyleLbl="node1" presStyleIdx="1" presStyleCnt="7"/>
      <dgm:spPr>
        <a:solidFill>
          <a:schemeClr val="accent1"/>
        </a:solidFill>
      </dgm:spPr>
    </dgm:pt>
    <dgm:pt modelId="{63D696C2-1F81-48F1-837D-AB26048F7C40}" type="pres">
      <dgm:prSet presAssocID="{99A93E49-1C42-4136-86C7-ACAED7E7AD4C}" presName="txNode" presStyleLbl="fgAcc1" presStyleIdx="1" presStyleCnt="7">
        <dgm:presLayoutVars>
          <dgm:bulletEnabled val="1"/>
        </dgm:presLayoutVars>
      </dgm:prSet>
      <dgm:spPr/>
    </dgm:pt>
    <dgm:pt modelId="{44EACA8B-C726-4C6A-A3D0-451E62D8FF6E}" type="pres">
      <dgm:prSet presAssocID="{2A1D510B-4754-401C-84B8-2964C76C76D4}" presName="compositeSpace" presStyleCnt="0"/>
      <dgm:spPr/>
    </dgm:pt>
    <dgm:pt modelId="{9EDB1985-CD85-44D7-8742-DE1B6106807B}" type="pres">
      <dgm:prSet presAssocID="{CAA286D2-4799-4E81-8648-21930F385AA2}" presName="composite" presStyleCnt="0"/>
      <dgm:spPr/>
    </dgm:pt>
    <dgm:pt modelId="{EEFD30AF-E3CC-411B-B51B-B1B97DCFDC3B}" type="pres">
      <dgm:prSet presAssocID="{CAA286D2-4799-4E81-8648-21930F385AA2}" presName="bgChev" presStyleLbl="node1" presStyleIdx="2" presStyleCnt="7"/>
      <dgm:spPr>
        <a:solidFill>
          <a:schemeClr val="accent1"/>
        </a:solidFill>
      </dgm:spPr>
    </dgm:pt>
    <dgm:pt modelId="{653706BE-3AB3-4F4A-BA28-587F6E3AC169}" type="pres">
      <dgm:prSet presAssocID="{CAA286D2-4799-4E81-8648-21930F385AA2}" presName="txNode" presStyleLbl="fgAcc1" presStyleIdx="2" presStyleCnt="7">
        <dgm:presLayoutVars>
          <dgm:bulletEnabled val="1"/>
        </dgm:presLayoutVars>
      </dgm:prSet>
      <dgm:spPr/>
    </dgm:pt>
    <dgm:pt modelId="{9CC3BEEF-75F3-46FE-AAF4-004C9FF90A98}" type="pres">
      <dgm:prSet presAssocID="{4C22C66B-D5D2-48AD-9EB6-8B3AD28473D3}" presName="compositeSpace" presStyleCnt="0"/>
      <dgm:spPr/>
    </dgm:pt>
    <dgm:pt modelId="{A0456F9B-203F-4F93-B38F-B37A16430CFC}" type="pres">
      <dgm:prSet presAssocID="{F82314E7-03EC-41C5-91F3-A166DD2065F3}" presName="composite" presStyleCnt="0"/>
      <dgm:spPr/>
    </dgm:pt>
    <dgm:pt modelId="{63630685-1BED-489F-9B0B-4580390E3109}" type="pres">
      <dgm:prSet presAssocID="{F82314E7-03EC-41C5-91F3-A166DD2065F3}" presName="bgChev" presStyleLbl="node1" presStyleIdx="3" presStyleCnt="7"/>
      <dgm:spPr>
        <a:solidFill>
          <a:schemeClr val="accent1"/>
        </a:solidFill>
      </dgm:spPr>
    </dgm:pt>
    <dgm:pt modelId="{AC85BCA3-8402-4B2E-8D5D-605790895847}" type="pres">
      <dgm:prSet presAssocID="{F82314E7-03EC-41C5-91F3-A166DD2065F3}" presName="txNode" presStyleLbl="fgAcc1" presStyleIdx="3" presStyleCnt="7">
        <dgm:presLayoutVars>
          <dgm:bulletEnabled val="1"/>
        </dgm:presLayoutVars>
      </dgm:prSet>
      <dgm:spPr/>
    </dgm:pt>
    <dgm:pt modelId="{7134FEEC-AF8F-46F1-A36B-990ADC6836CB}" type="pres">
      <dgm:prSet presAssocID="{F5C1157D-2D38-44BA-A20C-28D58C2507CE}" presName="compositeSpace" presStyleCnt="0"/>
      <dgm:spPr/>
    </dgm:pt>
    <dgm:pt modelId="{03EB3B5F-93C2-4B7E-B1B4-6A15D440F38B}" type="pres">
      <dgm:prSet presAssocID="{BAF8C166-54A3-4B16-BCFA-96A460B74D58}" presName="composite" presStyleCnt="0"/>
      <dgm:spPr/>
    </dgm:pt>
    <dgm:pt modelId="{78F6A73B-4825-4726-A296-D912135B9D48}" type="pres">
      <dgm:prSet presAssocID="{BAF8C166-54A3-4B16-BCFA-96A460B74D58}" presName="bgChev" presStyleLbl="node1" presStyleIdx="4" presStyleCnt="7"/>
      <dgm:spPr>
        <a:solidFill>
          <a:schemeClr val="accent1"/>
        </a:solidFill>
      </dgm:spPr>
    </dgm:pt>
    <dgm:pt modelId="{10DA07BC-BE8C-41A4-B31F-20EDD7AB5E30}" type="pres">
      <dgm:prSet presAssocID="{BAF8C166-54A3-4B16-BCFA-96A460B74D58}" presName="txNode" presStyleLbl="fgAcc1" presStyleIdx="4" presStyleCnt="7">
        <dgm:presLayoutVars>
          <dgm:bulletEnabled val="1"/>
        </dgm:presLayoutVars>
      </dgm:prSet>
      <dgm:spPr/>
    </dgm:pt>
    <dgm:pt modelId="{E5869210-3406-48EF-B695-72F628AA1B20}" type="pres">
      <dgm:prSet presAssocID="{2A96F43A-9590-4F87-96FF-6D0538018239}" presName="compositeSpace" presStyleCnt="0"/>
      <dgm:spPr/>
    </dgm:pt>
    <dgm:pt modelId="{F4F84288-C271-4FD1-AFB3-7532D751DCE4}" type="pres">
      <dgm:prSet presAssocID="{77D2E139-8115-450A-BC5D-674FDBDD79C3}" presName="composite" presStyleCnt="0"/>
      <dgm:spPr/>
    </dgm:pt>
    <dgm:pt modelId="{ED10D349-9C7B-4422-A0C6-F62C156D29C0}" type="pres">
      <dgm:prSet presAssocID="{77D2E139-8115-450A-BC5D-674FDBDD79C3}" presName="bgChev" presStyleLbl="node1" presStyleIdx="5" presStyleCnt="7"/>
      <dgm:spPr>
        <a:solidFill>
          <a:schemeClr val="accent1"/>
        </a:solidFill>
      </dgm:spPr>
    </dgm:pt>
    <dgm:pt modelId="{48689875-A3A1-410C-B464-13CAD6B8F5DD}" type="pres">
      <dgm:prSet presAssocID="{77D2E139-8115-450A-BC5D-674FDBDD79C3}" presName="txNode" presStyleLbl="fgAcc1" presStyleIdx="5" presStyleCnt="7">
        <dgm:presLayoutVars>
          <dgm:bulletEnabled val="1"/>
        </dgm:presLayoutVars>
      </dgm:prSet>
      <dgm:spPr/>
    </dgm:pt>
    <dgm:pt modelId="{338C494D-E831-45F2-959F-9E898037B46E}" type="pres">
      <dgm:prSet presAssocID="{64232B2E-556E-4676-8A97-10DBADCDBDAF}" presName="compositeSpace" presStyleCnt="0"/>
      <dgm:spPr/>
    </dgm:pt>
    <dgm:pt modelId="{38DD392F-F7A0-4063-BDD2-8BDB95C03E98}" type="pres">
      <dgm:prSet presAssocID="{42AE7320-DAC1-4F97-8C21-94D895F4315A}" presName="composite" presStyleCnt="0"/>
      <dgm:spPr/>
    </dgm:pt>
    <dgm:pt modelId="{EFC61387-40A4-4C7B-9D84-926D8CBD59E8}" type="pres">
      <dgm:prSet presAssocID="{42AE7320-DAC1-4F97-8C21-94D895F4315A}" presName="bgChev" presStyleLbl="node1" presStyleIdx="6" presStyleCnt="7"/>
      <dgm:spPr/>
    </dgm:pt>
    <dgm:pt modelId="{E62BB1DA-FBE9-4F32-9622-9750D665335C}" type="pres">
      <dgm:prSet presAssocID="{42AE7320-DAC1-4F97-8C21-94D895F4315A}" presName="txNode" presStyleLbl="fgAcc1" presStyleIdx="6" presStyleCnt="7">
        <dgm:presLayoutVars>
          <dgm:bulletEnabled val="1"/>
        </dgm:presLayoutVars>
      </dgm:prSet>
      <dgm:spPr/>
    </dgm:pt>
  </dgm:ptLst>
  <dgm:cxnLst>
    <dgm:cxn modelId="{2964131A-CB72-439D-BDAC-FC4205ED0E1C}" srcId="{0E2CCB91-D8F3-4418-939E-1F527FD2A863}" destId="{42AE7320-DAC1-4F97-8C21-94D895F4315A}" srcOrd="6" destOrd="0" parTransId="{542B7D38-2C48-493B-99C4-B0D39D33E5B9}" sibTransId="{61A9C0BC-F093-40F7-B49C-1B93E55EE882}"/>
    <dgm:cxn modelId="{11D03F29-8798-43E4-A95F-3104EAA99094}" srcId="{0E2CCB91-D8F3-4418-939E-1F527FD2A863}" destId="{CAA286D2-4799-4E81-8648-21930F385AA2}" srcOrd="2" destOrd="0" parTransId="{04EDFFA4-B0B9-4984-8FF1-469A3C8C5E58}" sibTransId="{4C22C66B-D5D2-48AD-9EB6-8B3AD28473D3}"/>
    <dgm:cxn modelId="{0C6AAF30-8573-47BE-9DB0-112036EC3913}" type="presOf" srcId="{77D2E139-8115-450A-BC5D-674FDBDD79C3}" destId="{48689875-A3A1-410C-B464-13CAD6B8F5DD}" srcOrd="0" destOrd="0" presId="urn:microsoft.com/office/officeart/2005/8/layout/chevronAccent+Icon"/>
    <dgm:cxn modelId="{EC2B6041-3E26-4F60-9224-4C037A08C823}" srcId="{0E2CCB91-D8F3-4418-939E-1F527FD2A863}" destId="{F82314E7-03EC-41C5-91F3-A166DD2065F3}" srcOrd="3" destOrd="0" parTransId="{211F6DCD-BA9B-4634-AF81-FBB2F09BE9EE}" sibTransId="{F5C1157D-2D38-44BA-A20C-28D58C2507CE}"/>
    <dgm:cxn modelId="{CE28D848-317D-4434-9C12-1C85F715B200}" type="presOf" srcId="{F82314E7-03EC-41C5-91F3-A166DD2065F3}" destId="{AC85BCA3-8402-4B2E-8D5D-605790895847}" srcOrd="0" destOrd="0" presId="urn:microsoft.com/office/officeart/2005/8/layout/chevronAccent+Icon"/>
    <dgm:cxn modelId="{695F0481-866A-4FE1-9007-B5034153725E}" type="presOf" srcId="{BAF8C166-54A3-4B16-BCFA-96A460B74D58}" destId="{10DA07BC-BE8C-41A4-B31F-20EDD7AB5E30}" srcOrd="0" destOrd="0" presId="urn:microsoft.com/office/officeart/2005/8/layout/chevronAccent+Icon"/>
    <dgm:cxn modelId="{FA1FE493-BAF0-4010-A241-F52DC66B2D6B}" srcId="{0E2CCB91-D8F3-4418-939E-1F527FD2A863}" destId="{BAF8C166-54A3-4B16-BCFA-96A460B74D58}" srcOrd="4" destOrd="0" parTransId="{2326FAC4-E4BC-4890-A260-D46D2F6E8906}" sibTransId="{2A96F43A-9590-4F87-96FF-6D0538018239}"/>
    <dgm:cxn modelId="{A05B12A0-18EB-4065-9C19-4B5FBBEB9816}" srcId="{0E2CCB91-D8F3-4418-939E-1F527FD2A863}" destId="{99A93E49-1C42-4136-86C7-ACAED7E7AD4C}" srcOrd="1" destOrd="0" parTransId="{D7201370-0EAE-4479-84AF-B9F0DBFE3D77}" sibTransId="{2A1D510B-4754-401C-84B8-2964C76C76D4}"/>
    <dgm:cxn modelId="{7DC2BCA0-644C-4BD0-9A38-18EEAF452AEB}" type="presOf" srcId="{0E2CCB91-D8F3-4418-939E-1F527FD2A863}" destId="{07C23101-F280-4F43-83C2-608280CA4B01}" srcOrd="0" destOrd="0" presId="urn:microsoft.com/office/officeart/2005/8/layout/chevronAccent+Icon"/>
    <dgm:cxn modelId="{5A6621B3-78F4-4A48-ACCE-1B095C40FD73}" srcId="{0E2CCB91-D8F3-4418-939E-1F527FD2A863}" destId="{97AD78BD-3AA1-4D8C-887B-C3C2AED71CA7}" srcOrd="0" destOrd="0" parTransId="{7B0B60A2-15D5-4C5B-898B-7DE1B11BD6D2}" sibTransId="{9104CA8C-7109-4787-BE3F-FD4589CD774A}"/>
    <dgm:cxn modelId="{80013FC2-E20B-4EE8-8809-8767AD0C684C}" type="presOf" srcId="{99A93E49-1C42-4136-86C7-ACAED7E7AD4C}" destId="{63D696C2-1F81-48F1-837D-AB26048F7C40}" srcOrd="0" destOrd="0" presId="urn:microsoft.com/office/officeart/2005/8/layout/chevronAccent+Icon"/>
    <dgm:cxn modelId="{42E994C3-8AAF-42C9-83B6-29D82CF515EE}" type="presOf" srcId="{42AE7320-DAC1-4F97-8C21-94D895F4315A}" destId="{E62BB1DA-FBE9-4F32-9622-9750D665335C}" srcOrd="0" destOrd="0" presId="urn:microsoft.com/office/officeart/2005/8/layout/chevronAccent+Icon"/>
    <dgm:cxn modelId="{F73485C4-CEE3-4459-91B5-CE5F2D6CD8A1}" srcId="{0E2CCB91-D8F3-4418-939E-1F527FD2A863}" destId="{77D2E139-8115-450A-BC5D-674FDBDD79C3}" srcOrd="5" destOrd="0" parTransId="{7B758735-F7B1-4A35-ACB1-9A05A91801E1}" sibTransId="{64232B2E-556E-4676-8A97-10DBADCDBDAF}"/>
    <dgm:cxn modelId="{44A176DD-6D94-47D4-9375-36D18A5681D8}" type="presOf" srcId="{CAA286D2-4799-4E81-8648-21930F385AA2}" destId="{653706BE-3AB3-4F4A-BA28-587F6E3AC169}" srcOrd="0" destOrd="0" presId="urn:microsoft.com/office/officeart/2005/8/layout/chevronAccent+Icon"/>
    <dgm:cxn modelId="{9A1C29F8-27B2-40EB-B77E-4C9962370817}" type="presOf" srcId="{97AD78BD-3AA1-4D8C-887B-C3C2AED71CA7}" destId="{CCA0A80D-B1A7-49AF-AD2E-D3C2EA89CBD4}" srcOrd="0" destOrd="0" presId="urn:microsoft.com/office/officeart/2005/8/layout/chevronAccent+Icon"/>
    <dgm:cxn modelId="{15D881E5-45BE-44BC-8711-B4E537EA77DC}" type="presParOf" srcId="{07C23101-F280-4F43-83C2-608280CA4B01}" destId="{CDAE2071-6381-4A5B-AF1E-933A88217C75}" srcOrd="0" destOrd="0" presId="urn:microsoft.com/office/officeart/2005/8/layout/chevronAccent+Icon"/>
    <dgm:cxn modelId="{E18D07CE-6920-4634-83A3-512CA80EBBAC}" type="presParOf" srcId="{CDAE2071-6381-4A5B-AF1E-933A88217C75}" destId="{84C59B59-814E-486B-BC46-C4B403A33581}" srcOrd="0" destOrd="0" presId="urn:microsoft.com/office/officeart/2005/8/layout/chevronAccent+Icon"/>
    <dgm:cxn modelId="{7BBA7392-C652-4DA2-A20B-3651203CB9C1}" type="presParOf" srcId="{CDAE2071-6381-4A5B-AF1E-933A88217C75}" destId="{CCA0A80D-B1A7-49AF-AD2E-D3C2EA89CBD4}" srcOrd="1" destOrd="0" presId="urn:microsoft.com/office/officeart/2005/8/layout/chevronAccent+Icon"/>
    <dgm:cxn modelId="{2CB6833F-F5E3-4CFE-A4C1-33E2146115FC}" type="presParOf" srcId="{07C23101-F280-4F43-83C2-608280CA4B01}" destId="{40DD5F31-C01D-4286-8AA9-9C436D76917E}" srcOrd="1" destOrd="0" presId="urn:microsoft.com/office/officeart/2005/8/layout/chevronAccent+Icon"/>
    <dgm:cxn modelId="{436087AB-13A5-4394-BA86-B02E935522E7}" type="presParOf" srcId="{07C23101-F280-4F43-83C2-608280CA4B01}" destId="{33D96F9D-C63B-4C56-92DC-DC24A2AF60BD}" srcOrd="2" destOrd="0" presId="urn:microsoft.com/office/officeart/2005/8/layout/chevronAccent+Icon"/>
    <dgm:cxn modelId="{85D12051-D277-411A-AEE3-144E631C0F74}" type="presParOf" srcId="{33D96F9D-C63B-4C56-92DC-DC24A2AF60BD}" destId="{9DCF820E-FF1C-4244-A914-664296F5734B}" srcOrd="0" destOrd="0" presId="urn:microsoft.com/office/officeart/2005/8/layout/chevronAccent+Icon"/>
    <dgm:cxn modelId="{56B64019-725F-4AF3-817D-53E30C1A7995}" type="presParOf" srcId="{33D96F9D-C63B-4C56-92DC-DC24A2AF60BD}" destId="{63D696C2-1F81-48F1-837D-AB26048F7C40}" srcOrd="1" destOrd="0" presId="urn:microsoft.com/office/officeart/2005/8/layout/chevronAccent+Icon"/>
    <dgm:cxn modelId="{9D5413EE-1068-4589-8A1C-ABD1CDD2775C}" type="presParOf" srcId="{07C23101-F280-4F43-83C2-608280CA4B01}" destId="{44EACA8B-C726-4C6A-A3D0-451E62D8FF6E}" srcOrd="3" destOrd="0" presId="urn:microsoft.com/office/officeart/2005/8/layout/chevronAccent+Icon"/>
    <dgm:cxn modelId="{5622BE36-E387-4914-AF83-AE6FC39E3786}" type="presParOf" srcId="{07C23101-F280-4F43-83C2-608280CA4B01}" destId="{9EDB1985-CD85-44D7-8742-DE1B6106807B}" srcOrd="4" destOrd="0" presId="urn:microsoft.com/office/officeart/2005/8/layout/chevronAccent+Icon"/>
    <dgm:cxn modelId="{045D2170-9818-4216-A761-DF37315F88C0}" type="presParOf" srcId="{9EDB1985-CD85-44D7-8742-DE1B6106807B}" destId="{EEFD30AF-E3CC-411B-B51B-B1B97DCFDC3B}" srcOrd="0" destOrd="0" presId="urn:microsoft.com/office/officeart/2005/8/layout/chevronAccent+Icon"/>
    <dgm:cxn modelId="{46E29B71-7645-4F9A-98CF-337E9E717B74}" type="presParOf" srcId="{9EDB1985-CD85-44D7-8742-DE1B6106807B}" destId="{653706BE-3AB3-4F4A-BA28-587F6E3AC169}" srcOrd="1" destOrd="0" presId="urn:microsoft.com/office/officeart/2005/8/layout/chevronAccent+Icon"/>
    <dgm:cxn modelId="{4249EB69-C4B9-41FB-A801-80C24EAE0AD4}" type="presParOf" srcId="{07C23101-F280-4F43-83C2-608280CA4B01}" destId="{9CC3BEEF-75F3-46FE-AAF4-004C9FF90A98}" srcOrd="5" destOrd="0" presId="urn:microsoft.com/office/officeart/2005/8/layout/chevronAccent+Icon"/>
    <dgm:cxn modelId="{958B96C2-AF5E-4C00-8D4A-8A9CE1D3FF34}" type="presParOf" srcId="{07C23101-F280-4F43-83C2-608280CA4B01}" destId="{A0456F9B-203F-4F93-B38F-B37A16430CFC}" srcOrd="6" destOrd="0" presId="urn:microsoft.com/office/officeart/2005/8/layout/chevronAccent+Icon"/>
    <dgm:cxn modelId="{7E1B0F52-9699-45DD-B0C7-0CD412C69C3B}" type="presParOf" srcId="{A0456F9B-203F-4F93-B38F-B37A16430CFC}" destId="{63630685-1BED-489F-9B0B-4580390E3109}" srcOrd="0" destOrd="0" presId="urn:microsoft.com/office/officeart/2005/8/layout/chevronAccent+Icon"/>
    <dgm:cxn modelId="{0F90419C-DC8A-4471-A9D9-DC544F9D74EA}" type="presParOf" srcId="{A0456F9B-203F-4F93-B38F-B37A16430CFC}" destId="{AC85BCA3-8402-4B2E-8D5D-605790895847}" srcOrd="1" destOrd="0" presId="urn:microsoft.com/office/officeart/2005/8/layout/chevronAccent+Icon"/>
    <dgm:cxn modelId="{40BB346E-92AD-424B-A9A9-32D92CA2AF18}" type="presParOf" srcId="{07C23101-F280-4F43-83C2-608280CA4B01}" destId="{7134FEEC-AF8F-46F1-A36B-990ADC6836CB}" srcOrd="7" destOrd="0" presId="urn:microsoft.com/office/officeart/2005/8/layout/chevronAccent+Icon"/>
    <dgm:cxn modelId="{E1B92CA5-C915-4DD6-9185-8319F35DC27A}" type="presParOf" srcId="{07C23101-F280-4F43-83C2-608280CA4B01}" destId="{03EB3B5F-93C2-4B7E-B1B4-6A15D440F38B}" srcOrd="8" destOrd="0" presId="urn:microsoft.com/office/officeart/2005/8/layout/chevronAccent+Icon"/>
    <dgm:cxn modelId="{DA29C5E0-1881-4B47-B4C2-812E1AA4C01C}" type="presParOf" srcId="{03EB3B5F-93C2-4B7E-B1B4-6A15D440F38B}" destId="{78F6A73B-4825-4726-A296-D912135B9D48}" srcOrd="0" destOrd="0" presId="urn:microsoft.com/office/officeart/2005/8/layout/chevronAccent+Icon"/>
    <dgm:cxn modelId="{8C71A0B8-33EB-4A58-A081-A9D80E04B85D}" type="presParOf" srcId="{03EB3B5F-93C2-4B7E-B1B4-6A15D440F38B}" destId="{10DA07BC-BE8C-41A4-B31F-20EDD7AB5E30}" srcOrd="1" destOrd="0" presId="urn:microsoft.com/office/officeart/2005/8/layout/chevronAccent+Icon"/>
    <dgm:cxn modelId="{8967FE9C-D116-474F-883F-EBBBA563B395}" type="presParOf" srcId="{07C23101-F280-4F43-83C2-608280CA4B01}" destId="{E5869210-3406-48EF-B695-72F628AA1B20}" srcOrd="9" destOrd="0" presId="urn:microsoft.com/office/officeart/2005/8/layout/chevronAccent+Icon"/>
    <dgm:cxn modelId="{348D7DD7-46A3-4508-854E-F76B36539CEF}" type="presParOf" srcId="{07C23101-F280-4F43-83C2-608280CA4B01}" destId="{F4F84288-C271-4FD1-AFB3-7532D751DCE4}" srcOrd="10" destOrd="0" presId="urn:microsoft.com/office/officeart/2005/8/layout/chevronAccent+Icon"/>
    <dgm:cxn modelId="{42A0D680-D493-4BB3-B8B8-1E4B95B8538A}" type="presParOf" srcId="{F4F84288-C271-4FD1-AFB3-7532D751DCE4}" destId="{ED10D349-9C7B-4422-A0C6-F62C156D29C0}" srcOrd="0" destOrd="0" presId="urn:microsoft.com/office/officeart/2005/8/layout/chevronAccent+Icon"/>
    <dgm:cxn modelId="{A2D14E7A-9E01-4DB2-B536-6B4A9B46D586}" type="presParOf" srcId="{F4F84288-C271-4FD1-AFB3-7532D751DCE4}" destId="{48689875-A3A1-410C-B464-13CAD6B8F5DD}" srcOrd="1" destOrd="0" presId="urn:microsoft.com/office/officeart/2005/8/layout/chevronAccent+Icon"/>
    <dgm:cxn modelId="{E94CB1D7-9F3F-40D9-B8FE-2C9486EB9DDC}" type="presParOf" srcId="{07C23101-F280-4F43-83C2-608280CA4B01}" destId="{338C494D-E831-45F2-959F-9E898037B46E}" srcOrd="11" destOrd="0" presId="urn:microsoft.com/office/officeart/2005/8/layout/chevronAccent+Icon"/>
    <dgm:cxn modelId="{2B1FBDAA-8B9E-4C46-8596-C6476CF13C2D}" type="presParOf" srcId="{07C23101-F280-4F43-83C2-608280CA4B01}" destId="{38DD392F-F7A0-4063-BDD2-8BDB95C03E98}" srcOrd="12" destOrd="0" presId="urn:microsoft.com/office/officeart/2005/8/layout/chevronAccent+Icon"/>
    <dgm:cxn modelId="{ACA84954-AB2D-4C4E-8234-0D4DF6C8D916}" type="presParOf" srcId="{38DD392F-F7A0-4063-BDD2-8BDB95C03E98}" destId="{EFC61387-40A4-4C7B-9D84-926D8CBD59E8}" srcOrd="0" destOrd="0" presId="urn:microsoft.com/office/officeart/2005/8/layout/chevronAccent+Icon"/>
    <dgm:cxn modelId="{CAA5A0A0-75FE-4827-92CD-8C28B0ED79D1}" type="presParOf" srcId="{38DD392F-F7A0-4063-BDD2-8BDB95C03E98}" destId="{E62BB1DA-FBE9-4F32-9622-9750D665335C}" srcOrd="1" destOrd="0" presId="urn:microsoft.com/office/officeart/2005/8/layout/chevronAccent+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C59B59-814E-486B-BC46-C4B403A33581}">
      <dsp:nvSpPr>
        <dsp:cNvPr id="0" name=""/>
        <dsp:cNvSpPr/>
      </dsp:nvSpPr>
      <dsp:spPr>
        <a:xfrm>
          <a:off x="4339"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A0A80D-B1A7-49AF-AD2E-D3C2EA89CBD4}">
      <dsp:nvSpPr>
        <dsp:cNvPr id="0" name=""/>
        <dsp:cNvSpPr/>
      </dsp:nvSpPr>
      <dsp:spPr>
        <a:xfrm>
          <a:off x="391522"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Getting Started</a:t>
          </a:r>
        </a:p>
      </dsp:txBody>
      <dsp:txXfrm>
        <a:off x="407937" y="465351"/>
        <a:ext cx="1193248" cy="527617"/>
      </dsp:txXfrm>
    </dsp:sp>
    <dsp:sp modelId="{9DCF820E-FF1C-4244-A914-664296F5734B}">
      <dsp:nvSpPr>
        <dsp:cNvPr id="0" name=""/>
        <dsp:cNvSpPr/>
      </dsp:nvSpPr>
      <dsp:spPr>
        <a:xfrm>
          <a:off x="1662772"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D696C2-1F81-48F1-837D-AB26048F7C40}">
      <dsp:nvSpPr>
        <dsp:cNvPr id="0" name=""/>
        <dsp:cNvSpPr/>
      </dsp:nvSpPr>
      <dsp:spPr>
        <a:xfrm>
          <a:off x="2049955"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IN" sz="1100" b="1" kern="1200" dirty="0">
              <a:solidFill>
                <a:srgbClr val="002856"/>
              </a:solidFill>
              <a:latin typeface="Arial Black" panose="020B0A04020102020204"/>
              <a:ea typeface="+mn-ea"/>
              <a:cs typeface="Aharoni" panose="02010803020104030203" pitchFamily="2" charset="-79"/>
            </a:rPr>
            <a:t>Source and Strategic Spend</a:t>
          </a:r>
          <a:endParaRPr lang="en-US" sz="1100" b="1" kern="1200" dirty="0">
            <a:solidFill>
              <a:srgbClr val="002856"/>
            </a:solidFill>
            <a:latin typeface="+mj-lt"/>
            <a:cs typeface="Aharoni" panose="02010803020104030203" pitchFamily="2" charset="-79"/>
          </a:endParaRPr>
        </a:p>
      </dsp:txBody>
      <dsp:txXfrm>
        <a:off x="2066370" y="465351"/>
        <a:ext cx="1193248" cy="527617"/>
      </dsp:txXfrm>
    </dsp:sp>
    <dsp:sp modelId="{EEFD30AF-E3CC-411B-B51B-B1B97DCFDC3B}">
      <dsp:nvSpPr>
        <dsp:cNvPr id="0" name=""/>
        <dsp:cNvSpPr/>
      </dsp:nvSpPr>
      <dsp:spPr>
        <a:xfrm>
          <a:off x="3321205"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3706BE-3AB3-4F4A-BA28-587F6E3AC169}">
      <dsp:nvSpPr>
        <dsp:cNvPr id="0" name=""/>
        <dsp:cNvSpPr/>
      </dsp:nvSpPr>
      <dsp:spPr>
        <a:xfrm>
          <a:off x="3708388"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Technical Functional Spend</a:t>
          </a:r>
        </a:p>
      </dsp:txBody>
      <dsp:txXfrm>
        <a:off x="3724803" y="465351"/>
        <a:ext cx="1193248" cy="527617"/>
      </dsp:txXfrm>
    </dsp:sp>
    <dsp:sp modelId="{63630685-1BED-489F-9B0B-4580390E3109}">
      <dsp:nvSpPr>
        <dsp:cNvPr id="0" name=""/>
        <dsp:cNvSpPr/>
      </dsp:nvSpPr>
      <dsp:spPr>
        <a:xfrm>
          <a:off x="4979638"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5BCA3-8402-4B2E-8D5D-605790895847}">
      <dsp:nvSpPr>
        <dsp:cNvPr id="0" name=""/>
        <dsp:cNvSpPr/>
      </dsp:nvSpPr>
      <dsp:spPr>
        <a:xfrm>
          <a:off x="5366821"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Asset Spend</a:t>
          </a:r>
        </a:p>
      </dsp:txBody>
      <dsp:txXfrm>
        <a:off x="5383236" y="465351"/>
        <a:ext cx="1193248" cy="527617"/>
      </dsp:txXfrm>
    </dsp:sp>
    <dsp:sp modelId="{78F6A73B-4825-4726-A296-D912135B9D48}">
      <dsp:nvSpPr>
        <dsp:cNvPr id="0" name=""/>
        <dsp:cNvSpPr/>
      </dsp:nvSpPr>
      <dsp:spPr>
        <a:xfrm>
          <a:off x="6638071"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DA07BC-BE8C-41A4-B31F-20EDD7AB5E30}">
      <dsp:nvSpPr>
        <dsp:cNvPr id="0" name=""/>
        <dsp:cNvSpPr/>
      </dsp:nvSpPr>
      <dsp:spPr>
        <a:xfrm>
          <a:off x="7025254"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Technical Function Staff</a:t>
          </a:r>
        </a:p>
      </dsp:txBody>
      <dsp:txXfrm>
        <a:off x="7041669" y="465351"/>
        <a:ext cx="1193248" cy="527617"/>
      </dsp:txXfrm>
    </dsp:sp>
    <dsp:sp modelId="{ED10D349-9C7B-4422-A0C6-F62C156D29C0}">
      <dsp:nvSpPr>
        <dsp:cNvPr id="0" name=""/>
        <dsp:cNvSpPr/>
      </dsp:nvSpPr>
      <dsp:spPr>
        <a:xfrm>
          <a:off x="8296504"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689875-A3A1-410C-B464-13CAD6B8F5DD}">
      <dsp:nvSpPr>
        <dsp:cNvPr id="0" name=""/>
        <dsp:cNvSpPr/>
      </dsp:nvSpPr>
      <dsp:spPr>
        <a:xfrm>
          <a:off x="8683687"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2856"/>
              </a:solidFill>
              <a:latin typeface="+mj-lt"/>
              <a:cs typeface="Aharoni" panose="02010803020104030203" pitchFamily="2" charset="-79"/>
            </a:rPr>
            <a:t>IT Security</a:t>
          </a:r>
        </a:p>
      </dsp:txBody>
      <dsp:txXfrm>
        <a:off x="8700102" y="465351"/>
        <a:ext cx="1193248" cy="527617"/>
      </dsp:txXfrm>
    </dsp:sp>
    <dsp:sp modelId="{EFC61387-40A4-4C7B-9D84-926D8CBD59E8}">
      <dsp:nvSpPr>
        <dsp:cNvPr id="0" name=""/>
        <dsp:cNvSpPr/>
      </dsp:nvSpPr>
      <dsp:spPr>
        <a:xfrm>
          <a:off x="9954937" y="308824"/>
          <a:ext cx="1451935" cy="560447"/>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2BB1DA-FBE9-4F32-9622-9750D665335C}">
      <dsp:nvSpPr>
        <dsp:cNvPr id="0" name=""/>
        <dsp:cNvSpPr/>
      </dsp:nvSpPr>
      <dsp:spPr>
        <a:xfrm>
          <a:off x="10342120"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2"/>
              </a:solidFill>
              <a:latin typeface="+mj-lt"/>
            </a:rPr>
            <a:t>Data &amp; Analytics</a:t>
          </a:r>
          <a:endParaRPr lang="en-IN" sz="1200" b="1" kern="1200" dirty="0">
            <a:solidFill>
              <a:schemeClr val="tx2"/>
            </a:solidFill>
            <a:latin typeface="+mj-lt"/>
          </a:endParaRPr>
        </a:p>
      </dsp:txBody>
      <dsp:txXfrm>
        <a:off x="10358535" y="465351"/>
        <a:ext cx="1193248" cy="527617"/>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11/2023</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endParaRPr lang="en-US" dirty="0"/>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4" name="Slide Image Placeholder 3"/>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1</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b="1" dirty="0"/>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b="1" dirty="0"/>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b="1" dirty="0"/>
          </a:p>
          <a:p>
            <a:pPr marL="0" lvl="0" indent="0" algn="l" rtl="0">
              <a:spcBef>
                <a:spcPts val="0"/>
              </a:spcBef>
              <a:spcAft>
                <a:spcPts val="0"/>
              </a:spcAft>
              <a:buNone/>
            </a:pPr>
            <a:endParaRPr dirty="0"/>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800" b="0" i="0" u="none" strike="noStrike" kern="1200" cap="none" spc="0" normalizeH="0" baseline="0" noProof="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sz="1800" b="0" i="0" u="none" strike="noStrike" kern="1200" cap="none" spc="0" normalizeH="0" baseline="0" noProof="0">
              <a:ln>
                <a:noFill/>
              </a:ln>
              <a:solidFill>
                <a:prstClr val="black"/>
              </a:solidFill>
              <a:effectLst/>
              <a:uLnTx/>
              <a:uFillTx/>
              <a:latin typeface="Arial"/>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16416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412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86093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b="1" dirty="0"/>
              <a:t>Update document ID and year?</a:t>
            </a:r>
          </a:p>
          <a:p>
            <a:r>
              <a:rPr lang="en-US" b="1" dirty="0"/>
              <a:t>ID removed</a:t>
            </a:r>
          </a:p>
          <a:p>
            <a:endParaRPr lang="en-US" dirty="0"/>
          </a:p>
        </p:txBody>
      </p:sp>
    </p:spTree>
    <p:extLst>
      <p:ext uri="{BB962C8B-B14F-4D97-AF65-F5344CB8AC3E}">
        <p14:creationId xmlns:p14="http://schemas.microsoft.com/office/powerpoint/2010/main" val="831037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8214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b="1" dirty="0"/>
              <a:t>Links to be updated </a:t>
            </a:r>
          </a:p>
          <a:p>
            <a:endParaRPr lang="en-US" dirty="0"/>
          </a:p>
        </p:txBody>
      </p:sp>
    </p:spTree>
    <p:extLst>
      <p:ext uri="{BB962C8B-B14F-4D97-AF65-F5344CB8AC3E}">
        <p14:creationId xmlns:p14="http://schemas.microsoft.com/office/powerpoint/2010/main" val="793011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dirty="0"/>
          </a:p>
        </p:txBody>
      </p:sp>
      <p:sp>
        <p:nvSpPr>
          <p:cNvPr id="5" name="Slide Image Placeholder 4">
            <a:extLst>
              <a:ext uri="{FF2B5EF4-FFF2-40B4-BE49-F238E27FC236}">
                <a16:creationId xmlns:a16="http://schemas.microsoft.com/office/drawing/2014/main"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86732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4485173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3378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605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800" b="0" i="0" u="none" strike="noStrike" kern="1200" cap="none" spc="0" normalizeH="0" baseline="0" noProof="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sz="1800" b="0" i="0" u="none" strike="noStrike" kern="1200" cap="none" spc="0" normalizeH="0" baseline="0" noProof="0">
              <a:ln>
                <a:noFill/>
              </a:ln>
              <a:solidFill>
                <a:prstClr val="black"/>
              </a:solidFill>
              <a:effectLst/>
              <a:uLnTx/>
              <a:uFillTx/>
              <a:latin typeface="Arial"/>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9104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DE8A66-137B-48B1-B968-519E5E77D9C5}"/>
              </a:ext>
            </a:extLst>
          </p:cNvPr>
          <p:cNvGraphicFramePr>
            <a:graphicFrameLocks noChangeAspect="1"/>
          </p:cNvGraphicFramePr>
          <p:nvPr userDrawn="1">
            <p:custDataLst>
              <p:tags r:id="rId1"/>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3BDE8A66-137B-48B1-B968-519E5E77D9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42E9AB-82CE-4C71-8B7E-9354D1ECBDF1}"/>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6F78F9-68C5-4F90-ADBA-2FA5D76CE70C}"/>
              </a:ext>
            </a:extLst>
          </p:cNvPr>
          <p:cNvGraphicFramePr>
            <a:graphicFrameLocks noChangeAspect="1"/>
          </p:cNvGraphicFramePr>
          <p:nvPr userDrawn="1">
            <p:custDataLst>
              <p:tags r:id="rId1"/>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B86F78F9-68C5-4F90-ADBA-2FA5D76CE7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4C4EC0-D50D-4B35-91AF-1F7DBA755E65}"/>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57850595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4255059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923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146645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38026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33399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63033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43615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16012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682962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2454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025519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4201097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0907840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7795355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7390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oleObject" Target="../embeddings/oleObject6.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7.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16.xml"/><Relationship Id="rId2" Type="http://schemas.openxmlformats.org/officeDocument/2006/relationships/slideLayout" Target="../slideLayouts/slideLayout30.xml"/><Relationship Id="rId16"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9.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8.xml"/><Relationship Id="rId2" Type="http://schemas.openxmlformats.org/officeDocument/2006/relationships/slideLayout" Target="../slideLayouts/slideLayout40.xml"/><Relationship Id="rId16" Type="http://schemas.openxmlformats.org/officeDocument/2006/relationships/image" Target="../media/image3.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image" Target="../media/image1.emf"/><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20.x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1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21.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886FD-978F-4664-9726-5E0E2E511804}"/>
              </a:ext>
            </a:extLst>
          </p:cNvPr>
          <p:cNvGraphicFramePr>
            <a:graphicFrameLocks noChangeAspect="1"/>
          </p:cNvGraphicFramePr>
          <p:nvPr userDrawn="1">
            <p:custDataLst>
              <p:tags r:id="rId14"/>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5" name="Object 4" hidden="1">
                        <a:extLst>
                          <a:ext uri="{FF2B5EF4-FFF2-40B4-BE49-F238E27FC236}">
                            <a16:creationId xmlns:a16="http://schemas.microsoft.com/office/drawing/2014/main" id="{B38886FD-978F-4664-9726-5E0E2E51180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F2085-C899-4FAF-94E8-78EDD1B5577B}"/>
              </a:ext>
            </a:extLst>
          </p:cNvPr>
          <p:cNvSpPr/>
          <p:nvPr userDrawn="1">
            <p:custDataLst>
              <p:tags r:id="rId15"/>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8FFD9961-B054-46E1-8C9C-58640BDF07D7}"/>
              </a:ext>
            </a:extLst>
          </p:cNvPr>
          <p:cNvPicPr>
            <a:picLocks noChangeAspect="1"/>
          </p:cNvPicPr>
          <p:nvPr userDrawn="1"/>
        </p:nvPicPr>
        <p:blipFill>
          <a:blip r:embed="rId18"/>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AA6AF-6A23-401B-B993-BD5391245122}"/>
              </a:ext>
            </a:extLst>
          </p:cNvPr>
          <p:cNvGraphicFramePr>
            <a:graphicFrameLocks noChangeAspect="1"/>
          </p:cNvGraphicFramePr>
          <p:nvPr userDrawn="1">
            <p:custDataLst>
              <p:tags r:id="rId12"/>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6FDAA6AF-6A23-401B-B993-BD539124512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DD689-8B08-462B-97D1-FF663F840475}"/>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07F0ED33-44D8-4D2A-A5AB-E69C844B193A}"/>
              </a:ext>
            </a:extLst>
          </p:cNvPr>
          <p:cNvPicPr>
            <a:picLocks noChangeAspect="1"/>
          </p:cNvPicPr>
          <p:nvPr userDrawn="1"/>
        </p:nvPicPr>
        <p:blipFill>
          <a:blip r:embed="rId16"/>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28858B-6AE3-4146-A31F-F0BFC60DE7A5}"/>
              </a:ext>
            </a:extLst>
          </p:cNvPr>
          <p:cNvGraphicFramePr>
            <a:graphicFrameLocks noChangeAspect="1"/>
          </p:cNvGraphicFramePr>
          <p:nvPr userDrawn="1">
            <p:custDataLst>
              <p:tags r:id="rId12"/>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1A28858B-6AE3-4146-A31F-F0BFC60DE7A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211B762-A9E6-4AB1-A3BB-BD25B14110C1}"/>
              </a:ext>
            </a:extLst>
          </p:cNvPr>
          <p:cNvPicPr>
            <a:picLocks noChangeAspect="1"/>
          </p:cNvPicPr>
          <p:nvPr userDrawn="1"/>
        </p:nvPicPr>
        <p:blipFill>
          <a:blip r:embed="rId16"/>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id="{0688463C-6B6E-481D-8E82-20D4EFA0E809}"/>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127631024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2.xml"/><Relationship Id="rId1" Type="http://schemas.openxmlformats.org/officeDocument/2006/relationships/tags" Target="../tags/tag41.xml"/><Relationship Id="rId6" Type="http://schemas.openxmlformats.org/officeDocument/2006/relationships/image" Target="../media/image30.png"/><Relationship Id="rId5" Type="http://schemas.openxmlformats.org/officeDocument/2006/relationships/image" Target="../media/image7.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4.xml"/><Relationship Id="rId7" Type="http://schemas.openxmlformats.org/officeDocument/2006/relationships/image" Target="../media/image36.png"/><Relationship Id="rId2" Type="http://schemas.openxmlformats.org/officeDocument/2006/relationships/slideLayout" Target="../slideLayouts/slideLayout52.xml"/><Relationship Id="rId1" Type="http://schemas.openxmlformats.org/officeDocument/2006/relationships/tags" Target="../tags/tag42.xml"/><Relationship Id="rId6" Type="http://schemas.openxmlformats.org/officeDocument/2006/relationships/image" Target="../media/image35.png"/><Relationship Id="rId5" Type="http://schemas.openxmlformats.org/officeDocument/2006/relationships/image" Target="../media/image7.emf"/><Relationship Id="rId4" Type="http://schemas.openxmlformats.org/officeDocument/2006/relationships/oleObject" Target="../embeddings/oleObject2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43.xml"/><Relationship Id="rId5" Type="http://schemas.openxmlformats.org/officeDocument/2006/relationships/image" Target="../media/image7.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28.bin"/><Relationship Id="rId7" Type="http://schemas.openxmlformats.org/officeDocument/2006/relationships/image" Target="../media/image40.png"/><Relationship Id="rId2" Type="http://schemas.openxmlformats.org/officeDocument/2006/relationships/slideLayout" Target="../slideLayouts/slideLayout54.xml"/><Relationship Id="rId1" Type="http://schemas.openxmlformats.org/officeDocument/2006/relationships/tags" Target="../tags/tag44.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7.emf"/><Relationship Id="rId9"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6.xml"/><Relationship Id="rId7" Type="http://schemas.openxmlformats.org/officeDocument/2006/relationships/diagramLayout" Target="../diagrams/layout1.xml"/><Relationship Id="rId2" Type="http://schemas.openxmlformats.org/officeDocument/2006/relationships/slideLayout" Target="../slideLayouts/slideLayout54.xml"/><Relationship Id="rId1" Type="http://schemas.openxmlformats.org/officeDocument/2006/relationships/tags" Target="../tags/tag45.xml"/><Relationship Id="rId6" Type="http://schemas.openxmlformats.org/officeDocument/2006/relationships/diagramData" Target="../diagrams/data1.xml"/><Relationship Id="rId5" Type="http://schemas.openxmlformats.org/officeDocument/2006/relationships/image" Target="../media/image7.emf"/><Relationship Id="rId10" Type="http://schemas.microsoft.com/office/2007/relationships/diagramDrawing" Target="../diagrams/drawing1.xml"/><Relationship Id="rId4" Type="http://schemas.openxmlformats.org/officeDocument/2006/relationships/oleObject" Target="../embeddings/oleObject29.bin"/><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7.emf"/><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6.xml"/><Relationship Id="rId7" Type="http://schemas.openxmlformats.org/officeDocument/2006/relationships/image" Target="../media/image4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31.bin"/><Relationship Id="rId10" Type="http://schemas.openxmlformats.org/officeDocument/2006/relationships/image" Target="../media/image48.png"/><Relationship Id="rId4" Type="http://schemas.openxmlformats.org/officeDocument/2006/relationships/notesSlide" Target="../notesSlides/notesSlide18.xml"/><Relationship Id="rId9"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Layout" Target="../slideLayouts/slideLayout16.xml"/><Relationship Id="rId7" Type="http://schemas.openxmlformats.org/officeDocument/2006/relationships/hyperlink" Target="mailto:benchmarkinginfo@gartner.com" TargetMode="External"/><Relationship Id="rId12" Type="http://schemas.openxmlformats.org/officeDocument/2006/relationships/image" Target="../media/image6.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11" Type="http://schemas.openxmlformats.org/officeDocument/2006/relationships/image" Target="../media/image5.png"/><Relationship Id="rId5" Type="http://schemas.openxmlformats.org/officeDocument/2006/relationships/oleObject" Target="../embeddings/oleObject17.bin"/><Relationship Id="rId10" Type="http://schemas.openxmlformats.org/officeDocument/2006/relationships/slide" Target="slide4.xml"/><Relationship Id="rId4" Type="http://schemas.openxmlformats.org/officeDocument/2006/relationships/notesSlide" Target="../notesSlides/notesSlide2.xml"/><Relationship Id="rId9" Type="http://schemas.openxmlformats.org/officeDocument/2006/relationships/slide" Target="slide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21.xml.rels><?xml version="1.0" encoding="UTF-8" standalone="yes"?>
<Relationships xmlns="http://schemas.openxmlformats.org/package/2006/relationships"><Relationship Id="rId8" Type="http://schemas.openxmlformats.org/officeDocument/2006/relationships/hyperlink" Target="https://www.gartner.com/document/code/801290" TargetMode="External"/><Relationship Id="rId3" Type="http://schemas.openxmlformats.org/officeDocument/2006/relationships/slideLayout" Target="../slideLayouts/slideLayout4.xml"/><Relationship Id="rId7" Type="http://schemas.openxmlformats.org/officeDocument/2006/relationships/hyperlink" Target="http://www.gartner.com/itbudget"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emf"/><Relationship Id="rId5" Type="http://schemas.openxmlformats.org/officeDocument/2006/relationships/oleObject" Target="../embeddings/oleObject33.bin"/><Relationship Id="rId10" Type="http://schemas.openxmlformats.org/officeDocument/2006/relationships/hyperlink" Target="https://www.gartner.com/document/code/801235" TargetMode="External"/><Relationship Id="rId4" Type="http://schemas.openxmlformats.org/officeDocument/2006/relationships/notesSlide" Target="../notesSlides/notesSlide20.xml"/><Relationship Id="rId9" Type="http://schemas.openxmlformats.org/officeDocument/2006/relationships/hyperlink" Target="https://www.gartner.com/document/code/801291"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hyperlink" Target="https://www.gartner.com/tools/budget-benchmarks" TargetMode="Externa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hyperlink" Target="mailto:benchmarkinginfo@gartner.com" TargetMode="Externa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8" Type="http://schemas.openxmlformats.org/officeDocument/2006/relationships/hyperlink" Target="https://www.gartner.com/document/code/801290" TargetMode="External"/><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slideLayout" Target="../slideLayouts/slideLayout4.xml"/><Relationship Id="rId21" Type="http://schemas.openxmlformats.org/officeDocument/2006/relationships/image" Target="../media/image21.png"/><Relationship Id="rId7" Type="http://schemas.openxmlformats.org/officeDocument/2006/relationships/hyperlink" Target="https://www.gartner.com/document/code/801234" TargetMode="External"/><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37.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tags" Target="../tags/tag36.xml"/><Relationship Id="rId6" Type="http://schemas.openxmlformats.org/officeDocument/2006/relationships/image" Target="../media/image8.emf"/><Relationship Id="rId11" Type="http://schemas.openxmlformats.org/officeDocument/2006/relationships/image" Target="../media/image11.png"/><Relationship Id="rId5" Type="http://schemas.openxmlformats.org/officeDocument/2006/relationships/oleObject" Target="../embeddings/oleObject21.bin"/><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notesSlide" Target="../notesSlides/notesSlide6.xml"/><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22.bin"/></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png"/><Relationship Id="rId2" Type="http://schemas.openxmlformats.org/officeDocument/2006/relationships/slideLayout" Target="../slideLayouts/slideLayout52.xml"/><Relationship Id="rId1" Type="http://schemas.openxmlformats.org/officeDocument/2006/relationships/tags" Target="../tags/tag39.xml"/><Relationship Id="rId6" Type="http://schemas.openxmlformats.org/officeDocument/2006/relationships/image" Target="../media/image23.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8" Type="http://schemas.openxmlformats.org/officeDocument/2006/relationships/hyperlink" Target="http://www.gartner.com/itbudget" TargetMode="External"/><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52.xml"/><Relationship Id="rId1" Type="http://schemas.openxmlformats.org/officeDocument/2006/relationships/tags" Target="../tags/tag40.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4.bin"/><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C08B-4616-497F-8188-60AE5A619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0A7C08B-4616-497F-8188-60AE5A619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AEFAD7-CD91-4230-9093-435F6E176986}"/>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4" name="Text Placeholder 3"/>
          <p:cNvSpPr>
            <a:spLocks noGrp="1"/>
          </p:cNvSpPr>
          <p:nvPr>
            <p:ph type="body" sz="quarter" idx="10"/>
          </p:nvPr>
        </p:nvSpPr>
        <p:spPr>
          <a:xfrm>
            <a:off x="2166861" y="3804785"/>
            <a:ext cx="4545024" cy="276999"/>
          </a:xfrm>
        </p:spPr>
        <p:txBody>
          <a:bodyPr/>
          <a:lstStyle/>
          <a:p>
            <a:r>
              <a:rPr lang="en-IN" dirty="0"/>
              <a:t>Practitioners Guide</a:t>
            </a:r>
          </a:p>
        </p:txBody>
      </p:sp>
      <p:sp>
        <p:nvSpPr>
          <p:cNvPr id="2" name="Title 1"/>
          <p:cNvSpPr>
            <a:spLocks noGrp="1"/>
          </p:cNvSpPr>
          <p:nvPr>
            <p:ph type="ctrTitle"/>
          </p:nvPr>
        </p:nvSpPr>
        <p:spPr/>
        <p:txBody>
          <a:bodyPr vert="horz"/>
          <a:lstStyle/>
          <a:p>
            <a:r>
              <a:rPr lang="en-US" b="1" dirty="0">
                <a:latin typeface="Arial Black"/>
                <a:ea typeface="Arial Black"/>
                <a:cs typeface="Arial Black"/>
                <a:sym typeface="Arial Black"/>
              </a:rPr>
              <a:t>IT Security Benchmark</a:t>
            </a:r>
            <a:endParaRPr lang="en-US" dirty="0"/>
          </a:p>
        </p:txBody>
      </p:sp>
    </p:spTree>
    <p:extLst>
      <p:ext uri="{BB962C8B-B14F-4D97-AF65-F5344CB8AC3E}">
        <p14:creationId xmlns:p14="http://schemas.microsoft.com/office/powerpoint/2010/main" val="13383971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 name="Google Shape;278;p7">
            <a:extLst>
              <a:ext uri="{FF2B5EF4-FFF2-40B4-BE49-F238E27FC236}">
                <a16:creationId xmlns:a16="http://schemas.microsoft.com/office/drawing/2014/main" id="{2941FB43-2E18-A235-7D1C-1C3DDCF85F37}"/>
              </a:ext>
            </a:extLst>
          </p:cNvPr>
          <p:cNvSpPr txBox="1"/>
          <p:nvPr/>
        </p:nvSpPr>
        <p:spPr>
          <a:xfrm>
            <a:off x="457200" y="4342962"/>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Start”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cxnSp>
        <p:nvCxnSpPr>
          <p:cNvPr id="7" name="Google Shape;275;p7">
            <a:extLst>
              <a:ext uri="{FF2B5EF4-FFF2-40B4-BE49-F238E27FC236}">
                <a16:creationId xmlns:a16="http://schemas.microsoft.com/office/drawing/2014/main" id="{8AABE939-282D-7244-63CA-394288132C85}"/>
              </a:ext>
            </a:extLst>
          </p:cNvPr>
          <p:cNvCxnSpPr/>
          <p:nvPr/>
        </p:nvCxnSpPr>
        <p:spPr>
          <a:xfrm rot="10800000">
            <a:off x="457200" y="4161156"/>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id="{50BC95BA-709A-51BF-5208-2C4471BB743A}"/>
              </a:ext>
            </a:extLst>
          </p:cNvPr>
          <p:cNvSpPr txBox="1"/>
          <p:nvPr/>
        </p:nvSpPr>
        <p:spPr>
          <a:xfrm>
            <a:off x="457200" y="827909"/>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id="{A3ECE54B-4DF7-ACC1-1558-733A14C51A2D}"/>
              </a:ext>
            </a:extLst>
          </p:cNvPr>
          <p:cNvSpPr txBox="1"/>
          <p:nvPr/>
        </p:nvSpPr>
        <p:spPr>
          <a:xfrm>
            <a:off x="457200" y="1166423"/>
            <a:ext cx="8892540" cy="27695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From the drop-down list, select the option ‘IT Budget and Efficiency Benchmark’ </a:t>
            </a:r>
          </a:p>
        </p:txBody>
      </p:sp>
      <p:pic>
        <p:nvPicPr>
          <p:cNvPr id="11" name="Picture 10">
            <a:extLst>
              <a:ext uri="{FF2B5EF4-FFF2-40B4-BE49-F238E27FC236}">
                <a16:creationId xmlns:a16="http://schemas.microsoft.com/office/drawing/2014/main" id="{2427B478-B5C1-377B-0B37-A729BA403CA5}"/>
              </a:ext>
            </a:extLst>
          </p:cNvPr>
          <p:cNvPicPr>
            <a:picLocks noChangeAspect="1"/>
          </p:cNvPicPr>
          <p:nvPr/>
        </p:nvPicPr>
        <p:blipFill>
          <a:blip r:embed="rId3"/>
          <a:stretch>
            <a:fillRect/>
          </a:stretch>
        </p:blipFill>
        <p:spPr>
          <a:xfrm>
            <a:off x="457200" y="1631076"/>
            <a:ext cx="5085029" cy="2348275"/>
          </a:xfrm>
          <a:prstGeom prst="rect">
            <a:avLst/>
          </a:prstGeom>
        </p:spPr>
      </p:pic>
      <p:sp>
        <p:nvSpPr>
          <p:cNvPr id="6" name="Rectangle 5">
            <a:extLst>
              <a:ext uri="{FF2B5EF4-FFF2-40B4-BE49-F238E27FC236}">
                <a16:creationId xmlns:a16="http://schemas.microsoft.com/office/drawing/2014/main" id="{2654E339-145A-64C3-98B1-5D498BAFA6C7}"/>
              </a:ext>
            </a:extLst>
          </p:cNvPr>
          <p:cNvSpPr/>
          <p:nvPr/>
        </p:nvSpPr>
        <p:spPr>
          <a:xfrm>
            <a:off x="1307166" y="3281144"/>
            <a:ext cx="2413808" cy="313818"/>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15" name="Picture 14">
            <a:extLst>
              <a:ext uri="{FF2B5EF4-FFF2-40B4-BE49-F238E27FC236}">
                <a16:creationId xmlns:a16="http://schemas.microsoft.com/office/drawing/2014/main" id="{FEA32F75-080E-557B-A652-8288D1CC6883}"/>
              </a:ext>
            </a:extLst>
          </p:cNvPr>
          <p:cNvPicPr>
            <a:picLocks noChangeAspect="1"/>
          </p:cNvPicPr>
          <p:nvPr/>
        </p:nvPicPr>
        <p:blipFill>
          <a:blip r:embed="rId4"/>
          <a:stretch>
            <a:fillRect/>
          </a:stretch>
        </p:blipFill>
        <p:spPr>
          <a:xfrm>
            <a:off x="457200" y="4866182"/>
            <a:ext cx="5085029" cy="1108081"/>
          </a:xfrm>
          <a:prstGeom prst="rect">
            <a:avLst/>
          </a:prstGeom>
        </p:spPr>
      </p:pic>
      <p:sp>
        <p:nvSpPr>
          <p:cNvPr id="16" name="Rectangle 15">
            <a:extLst>
              <a:ext uri="{FF2B5EF4-FFF2-40B4-BE49-F238E27FC236}">
                <a16:creationId xmlns:a16="http://schemas.microsoft.com/office/drawing/2014/main" id="{124EA5BE-7836-9A36-136C-AB736A921A8A}"/>
              </a:ext>
            </a:extLst>
          </p:cNvPr>
          <p:cNvSpPr/>
          <p:nvPr/>
        </p:nvSpPr>
        <p:spPr>
          <a:xfrm>
            <a:off x="4171952" y="5314384"/>
            <a:ext cx="1241570" cy="461727"/>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1205210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9B5641-8763-1F0D-818C-AEDC6F5234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B19B5641-8763-1F0D-818C-AEDC6F5234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2060"/>
              </a:buClr>
              <a:buSzPts val="1400"/>
              <a:buFont typeface="Arial"/>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Input set up details (continued).</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prstClr val="black"/>
              </a:buClr>
              <a:buSzPts val="1400"/>
              <a:buFont typeface="Arial"/>
              <a:buNone/>
              <a:tabLst/>
              <a:defRPr/>
            </a:pPr>
            <a:endParaRPr kumimoji="0" sz="14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 name="Speech Bubble: Rectangle 3">
            <a:extLst>
              <a:ext uri="{FF2B5EF4-FFF2-40B4-BE49-F238E27FC236}">
                <a16:creationId xmlns:a16="http://schemas.microsoft.com/office/drawing/2014/main" id="{E1AD2877-4370-E330-0598-85066E44F0F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540A"/>
                </a:solidFill>
                <a:effectLst/>
                <a:uLnTx/>
                <a:uFillTx/>
                <a:latin typeface="Arial" panose="020B0604020202020204"/>
                <a:ea typeface="+mn-ea"/>
                <a:cs typeface="+mn-cs"/>
              </a:rPr>
              <a:t>The industry selection here only represents the clients’ general Gartner industry classification. It does not represent peer selection which uses a different categorization scheme and is set on the digital results page.</a:t>
            </a:r>
            <a:endParaRPr kumimoji="0" lang="en-IN" sz="1400" b="0" i="0" u="none" strike="noStrike" kern="1200" cap="none" spc="0" normalizeH="0" baseline="0" noProof="0" dirty="0">
              <a:ln>
                <a:noFill/>
              </a:ln>
              <a:solidFill>
                <a:srgbClr val="FF540A"/>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7EE1EDCA-3517-C2DB-7979-8AD93EA15146}"/>
              </a:ext>
            </a:extLst>
          </p:cNvPr>
          <p:cNvPicPr>
            <a:picLocks noChangeAspect="1"/>
          </p:cNvPicPr>
          <p:nvPr/>
        </p:nvPicPr>
        <p:blipFill>
          <a:blip r:embed="rId6"/>
          <a:stretch>
            <a:fillRect/>
          </a:stretch>
        </p:blipFill>
        <p:spPr>
          <a:xfrm>
            <a:off x="457200" y="1547029"/>
            <a:ext cx="5311017" cy="3099186"/>
          </a:xfrm>
          <a:prstGeom prst="rect">
            <a:avLst/>
          </a:prstGeom>
        </p:spPr>
      </p:pic>
    </p:spTree>
    <p:extLst>
      <p:ext uri="{BB962C8B-B14F-4D97-AF65-F5344CB8AC3E}">
        <p14:creationId xmlns:p14="http://schemas.microsoft.com/office/powerpoint/2010/main" val="338033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457200" y="1409700"/>
            <a:ext cx="11020425" cy="4538427"/>
          </a:xfrm>
          <a:prstGeom prst="rect">
            <a:avLst/>
          </a:prstGeom>
          <a:solidFill>
            <a:srgbClr val="D3D3D3"/>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a:solidFill>
                  <a:srgbClr val="002060"/>
                </a:solidFill>
                <a:latin typeface="Arial"/>
                <a:ea typeface="Arial"/>
                <a:cs typeface="Arial"/>
                <a:sym typeface="Arial"/>
              </a:rPr>
              <a:t>Agree to the standard Gartner Note of Confidentiality and Privacy Policy.</a:t>
            </a:r>
            <a:endParaRPr/>
          </a:p>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2060"/>
              </a:solidFill>
              <a:latin typeface="Arial"/>
              <a:ea typeface="Arial"/>
              <a:cs typeface="Arial"/>
              <a:sym typeface="Arial"/>
            </a:endParaRPr>
          </a:p>
        </p:txBody>
      </p:sp>
      <p:pic>
        <p:nvPicPr>
          <p:cNvPr id="7" name="Picture 6">
            <a:extLst>
              <a:ext uri="{FF2B5EF4-FFF2-40B4-BE49-F238E27FC236}">
                <a16:creationId xmlns:a16="http://schemas.microsoft.com/office/drawing/2014/main" id="{B6CA2B65-85D2-BF84-BB95-2FE7267D54A8}"/>
              </a:ext>
            </a:extLst>
          </p:cNvPr>
          <p:cNvPicPr>
            <a:picLocks noChangeAspect="1"/>
          </p:cNvPicPr>
          <p:nvPr/>
        </p:nvPicPr>
        <p:blipFill>
          <a:blip r:embed="rId3"/>
          <a:stretch>
            <a:fillRect/>
          </a:stretch>
        </p:blipFill>
        <p:spPr>
          <a:xfrm>
            <a:off x="2038349" y="1477931"/>
            <a:ext cx="8086725" cy="4391025"/>
          </a:xfrm>
          <a:prstGeom prst="rect">
            <a:avLst/>
          </a:prstGeom>
        </p:spPr>
      </p:pic>
    </p:spTree>
    <p:extLst>
      <p:ext uri="{BB962C8B-B14F-4D97-AF65-F5344CB8AC3E}">
        <p14:creationId xmlns:p14="http://schemas.microsoft.com/office/powerpoint/2010/main" val="2167421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pic>
        <p:nvPicPr>
          <p:cNvPr id="29" name="Google Shape;318;p10">
            <a:extLst>
              <a:ext uri="{FF2B5EF4-FFF2-40B4-BE49-F238E27FC236}">
                <a16:creationId xmlns:a16="http://schemas.microsoft.com/office/drawing/2014/main" id="{5ACBBC13-0EC5-8B31-A562-3FFF1593F46E}"/>
              </a:ext>
            </a:extLst>
          </p:cNvPr>
          <p:cNvPicPr preferRelativeResize="0"/>
          <p:nvPr/>
        </p:nvPicPr>
        <p:blipFill rotWithShape="1">
          <a:blip r:embed="rId3">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sp>
        <p:nvSpPr>
          <p:cNvPr id="36" name="Google Shape;315;p10">
            <a:extLst>
              <a:ext uri="{FF2B5EF4-FFF2-40B4-BE49-F238E27FC236}">
                <a16:creationId xmlns:a16="http://schemas.microsoft.com/office/drawing/2014/main"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id="{F4E4A16E-B0E6-A140-2054-EAB7D9756429}"/>
              </a:ext>
            </a:extLst>
          </p:cNvPr>
          <p:cNvSpPr/>
          <p:nvPr/>
        </p:nvSpPr>
        <p:spPr>
          <a:xfrm>
            <a:off x="4626153" y="3755635"/>
            <a:ext cx="6946722" cy="1400343"/>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id="{665BA7E8-B87A-1474-2AAC-ACE64199841E}"/>
              </a:ext>
            </a:extLst>
          </p:cNvPr>
          <p:cNvSpPr txBox="1"/>
          <p:nvPr/>
        </p:nvSpPr>
        <p:spPr>
          <a:xfrm>
            <a:off x="4740833" y="3793247"/>
            <a:ext cx="6805660" cy="1400343"/>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pic>
        <p:nvPicPr>
          <p:cNvPr id="6" name="Picture 5">
            <a:extLst>
              <a:ext uri="{FF2B5EF4-FFF2-40B4-BE49-F238E27FC236}">
                <a16:creationId xmlns:a16="http://schemas.microsoft.com/office/drawing/2014/main" id="{FB263584-543F-C50B-9F63-71DD78FD72A5}"/>
              </a:ext>
            </a:extLst>
          </p:cNvPr>
          <p:cNvPicPr>
            <a:picLocks noChangeAspect="1"/>
          </p:cNvPicPr>
          <p:nvPr/>
        </p:nvPicPr>
        <p:blipFill>
          <a:blip r:embed="rId4"/>
          <a:stretch>
            <a:fillRect/>
          </a:stretch>
        </p:blipFill>
        <p:spPr>
          <a:xfrm>
            <a:off x="688600" y="2743567"/>
            <a:ext cx="3504000" cy="987912"/>
          </a:xfrm>
          <a:prstGeom prst="rect">
            <a:avLst/>
          </a:prstGeom>
        </p:spPr>
      </p:pic>
      <p:sp>
        <p:nvSpPr>
          <p:cNvPr id="7" name="Rectangle 6">
            <a:extLst>
              <a:ext uri="{FF2B5EF4-FFF2-40B4-BE49-F238E27FC236}">
                <a16:creationId xmlns:a16="http://schemas.microsoft.com/office/drawing/2014/main" id="{8E672914-0FA6-ED48-B90F-B8F6CD97D1C3}"/>
              </a:ext>
            </a:extLst>
          </p:cNvPr>
          <p:cNvSpPr/>
          <p:nvPr/>
        </p:nvSpPr>
        <p:spPr>
          <a:xfrm>
            <a:off x="1730734" y="3362138"/>
            <a:ext cx="170494" cy="17423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9" name="Picture 8">
            <a:extLst>
              <a:ext uri="{FF2B5EF4-FFF2-40B4-BE49-F238E27FC236}">
                <a16:creationId xmlns:a16="http://schemas.microsoft.com/office/drawing/2014/main" id="{83602FD1-2CC3-AAD8-8822-00FB506A6AC4}"/>
              </a:ext>
            </a:extLst>
          </p:cNvPr>
          <p:cNvPicPr>
            <a:picLocks noChangeAspect="1"/>
          </p:cNvPicPr>
          <p:nvPr/>
        </p:nvPicPr>
        <p:blipFill>
          <a:blip r:embed="rId5"/>
          <a:stretch>
            <a:fillRect/>
          </a:stretch>
        </p:blipFill>
        <p:spPr>
          <a:xfrm>
            <a:off x="4429328" y="2357291"/>
            <a:ext cx="3530286" cy="1218197"/>
          </a:xfrm>
          <a:prstGeom prst="rect">
            <a:avLst/>
          </a:prstGeom>
        </p:spPr>
      </p:pic>
    </p:spTree>
    <p:extLst>
      <p:ext uri="{BB962C8B-B14F-4D97-AF65-F5344CB8AC3E}">
        <p14:creationId xmlns:p14="http://schemas.microsoft.com/office/powerpoint/2010/main" val="3329033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AC4883-874B-322F-7272-F7773B275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92AC4883-874B-322F-7272-F7773B275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How to Assign Manager and Transfer Benchmark:</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Although many clients complete the survey independently, there are three ways you can collaborate with your team.</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14" name="Table 7">
            <a:extLst>
              <a:ext uri="{FF2B5EF4-FFF2-40B4-BE49-F238E27FC236}">
                <a16:creationId xmlns:a16="http://schemas.microsoft.com/office/drawing/2014/main"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val="905113989"/>
                    </a:ext>
                  </a:extLst>
                </a:gridCol>
                <a:gridCol w="8458200">
                  <a:extLst>
                    <a:ext uri="{9D8B030D-6E8A-4147-A177-3AD203B41FA5}">
                      <a16:colId xmlns:a16="http://schemas.microsoft.com/office/drawing/2014/main"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4002979"/>
                  </a:ext>
                </a:extLst>
              </a:tr>
            </a:tbl>
          </a:graphicData>
        </a:graphic>
      </p:graphicFrame>
      <p:pic>
        <p:nvPicPr>
          <p:cNvPr id="11" name="Picture 10">
            <a:extLst>
              <a:ext uri="{FF2B5EF4-FFF2-40B4-BE49-F238E27FC236}">
                <a16:creationId xmlns:a16="http://schemas.microsoft.com/office/drawing/2014/main" id="{E5BD09F4-7A63-04AB-DAD0-5528026CED50}"/>
              </a:ext>
            </a:extLst>
          </p:cNvPr>
          <p:cNvPicPr>
            <a:picLocks noChangeAspect="1"/>
          </p:cNvPicPr>
          <p:nvPr/>
        </p:nvPicPr>
        <p:blipFill>
          <a:blip r:embed="rId6"/>
          <a:stretch>
            <a:fillRect/>
          </a:stretch>
        </p:blipFill>
        <p:spPr>
          <a:xfrm>
            <a:off x="2885395" y="3370543"/>
            <a:ext cx="3614993" cy="602499"/>
          </a:xfrm>
          <a:prstGeom prst="rect">
            <a:avLst/>
          </a:prstGeom>
        </p:spPr>
      </p:pic>
      <p:pic>
        <p:nvPicPr>
          <p:cNvPr id="13" name="Picture 12">
            <a:extLst>
              <a:ext uri="{FF2B5EF4-FFF2-40B4-BE49-F238E27FC236}">
                <a16:creationId xmlns:a16="http://schemas.microsoft.com/office/drawing/2014/main" id="{A303C715-99EB-AB7E-10AE-37EA5108B55F}"/>
              </a:ext>
            </a:extLst>
          </p:cNvPr>
          <p:cNvPicPr>
            <a:picLocks noChangeAspect="1"/>
          </p:cNvPicPr>
          <p:nvPr/>
        </p:nvPicPr>
        <p:blipFill>
          <a:blip r:embed="rId7"/>
          <a:stretch>
            <a:fillRect/>
          </a:stretch>
        </p:blipFill>
        <p:spPr>
          <a:xfrm>
            <a:off x="4561738" y="3671792"/>
            <a:ext cx="1365125" cy="2134307"/>
          </a:xfrm>
          <a:prstGeom prst="rect">
            <a:avLst/>
          </a:prstGeom>
        </p:spPr>
      </p:pic>
      <p:sp>
        <p:nvSpPr>
          <p:cNvPr id="10" name="Rectangle 9">
            <a:extLst>
              <a:ext uri="{FF2B5EF4-FFF2-40B4-BE49-F238E27FC236}">
                <a16:creationId xmlns:a16="http://schemas.microsoft.com/office/drawing/2014/main" id="{CFC8DB0D-733D-9974-00C6-DB60DD3999E4}"/>
              </a:ext>
            </a:extLst>
          </p:cNvPr>
          <p:cNvSpPr/>
          <p:nvPr/>
        </p:nvSpPr>
        <p:spPr>
          <a:xfrm>
            <a:off x="4616373" y="4738944"/>
            <a:ext cx="1310490" cy="602499"/>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FABEF3C0-3139-F851-7FD7-ABA7DB73203C}"/>
              </a:ext>
            </a:extLst>
          </p:cNvPr>
          <p:cNvGrpSpPr/>
          <p:nvPr/>
        </p:nvGrpSpPr>
        <p:grpSpPr>
          <a:xfrm>
            <a:off x="7180358" y="3492213"/>
            <a:ext cx="4577541" cy="2015584"/>
            <a:chOff x="7180358" y="3492213"/>
            <a:chExt cx="4577541" cy="2015584"/>
          </a:xfrm>
        </p:grpSpPr>
        <p:sp>
          <p:nvSpPr>
            <p:cNvPr id="328" name="Google Shape;328;p11"/>
            <p:cNvSpPr txBox="1"/>
            <p:nvPr/>
          </p:nvSpPr>
          <p:spPr>
            <a:xfrm>
              <a:off x="7180358" y="3492213"/>
              <a:ext cx="4577541" cy="72548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How to Delegate Specific Sections:</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Once in the survey, open a specific module you wish to delegate and click “Delegate this section to a colleague”. </a:t>
              </a:r>
              <a:r>
                <a:rPr kumimoji="0" lang="en-US" sz="1200" b="0" i="1" u="none" strike="noStrike" kern="1200" cap="none" spc="0" normalizeH="0" baseline="0" noProof="0" dirty="0">
                  <a:ln>
                    <a:noFill/>
                  </a:ln>
                  <a:solidFill>
                    <a:prstClr val="black"/>
                  </a:solidFill>
                  <a:effectLst/>
                  <a:uLnTx/>
                  <a:uFillTx/>
                  <a:latin typeface="Arial"/>
                  <a:ea typeface="Arial"/>
                  <a:cs typeface="Arial"/>
                  <a:sym typeface="Arial"/>
                </a:rPr>
                <a:t>This individual does not need to be an active Gartner client</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 </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100"/>
                <a:buFont typeface="Arial"/>
                <a:buNone/>
                <a:tabLst/>
                <a:defRPr/>
              </a:pPr>
              <a:endParaRPr kumimoji="0" sz="1100" b="0" i="0" u="none" strike="noStrike" kern="1200" cap="none" spc="0" normalizeH="0" baseline="0" noProof="0" dirty="0">
                <a:ln>
                  <a:noFill/>
                </a:ln>
                <a:solidFill>
                  <a:prstClr val="black"/>
                </a:solidFill>
                <a:effectLst/>
                <a:uLnTx/>
                <a:uFillTx/>
                <a:latin typeface="Arial"/>
                <a:ea typeface="Arial"/>
                <a:cs typeface="Arial"/>
                <a:sym typeface="Arial"/>
              </a:endParaRPr>
            </a:p>
          </p:txBody>
        </p:sp>
        <p:pic>
          <p:nvPicPr>
            <p:cNvPr id="3" name="Picture 2">
              <a:extLst>
                <a:ext uri="{FF2B5EF4-FFF2-40B4-BE49-F238E27FC236}">
                  <a16:creationId xmlns:a16="http://schemas.microsoft.com/office/drawing/2014/main" id="{CB2009DA-9326-5EB2-A34B-87BE00391379}"/>
                </a:ext>
              </a:extLst>
            </p:cNvPr>
            <p:cNvPicPr>
              <a:picLocks noChangeAspect="1"/>
            </p:cNvPicPr>
            <p:nvPr/>
          </p:nvPicPr>
          <p:blipFill rotWithShape="1">
            <a:blip r:embed="rId8"/>
            <a:srcRect l="1938" t="24869" r="2646" b="9657"/>
            <a:stretch/>
          </p:blipFill>
          <p:spPr>
            <a:xfrm>
              <a:off x="7213923" y="4686889"/>
              <a:ext cx="4528168" cy="820908"/>
            </a:xfrm>
            <a:prstGeom prst="rect">
              <a:avLst/>
            </a:prstGeom>
          </p:spPr>
        </p:pic>
        <p:sp>
          <p:nvSpPr>
            <p:cNvPr id="4" name="Google Shape;331;p11">
              <a:extLst>
                <a:ext uri="{FF2B5EF4-FFF2-40B4-BE49-F238E27FC236}">
                  <a16:creationId xmlns:a16="http://schemas.microsoft.com/office/drawing/2014/main" id="{BB4A21F8-25F7-D08C-9F84-6F6EB34F2695}"/>
                </a:ext>
              </a:extLst>
            </p:cNvPr>
            <p:cNvSpPr/>
            <p:nvPr/>
          </p:nvSpPr>
          <p:spPr>
            <a:xfrm>
              <a:off x="7935611" y="4620377"/>
              <a:ext cx="1998502" cy="306728"/>
            </a:xfrm>
            <a:prstGeom prst="rect">
              <a:avLst/>
            </a:prstGeom>
            <a:no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lumMod val="65000"/>
                    <a:lumOff val="35000"/>
                  </a:prstClr>
                </a:solidFill>
                <a:effectLst/>
                <a:uLnTx/>
                <a:uFillTx/>
                <a:latin typeface="Arial"/>
                <a:ea typeface="Arial"/>
                <a:cs typeface="Arial"/>
                <a:sym typeface="Arial"/>
              </a:endParaRPr>
            </a:p>
          </p:txBody>
        </p:sp>
      </p:grpSp>
    </p:spTree>
    <p:extLst>
      <p:ext uri="{BB962C8B-B14F-4D97-AF65-F5344CB8AC3E}">
        <p14:creationId xmlns:p14="http://schemas.microsoft.com/office/powerpoint/2010/main" val="1038835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EF9F8A-5BCA-0B40-1E65-E8CF14A3997F}"/>
              </a:ext>
            </a:extLst>
          </p:cNvPr>
          <p:cNvGraphicFramePr>
            <a:graphicFrameLocks noChangeAspect="1"/>
          </p:cNvGraphicFramePr>
          <p:nvPr>
            <p:custDataLst>
              <p:tags r:id="rId1"/>
            </p:custDataLst>
            <p:extLst>
              <p:ext uri="{D42A27DB-BD31-4B8C-83A1-F6EECF244321}">
                <p14:modId xmlns:p14="http://schemas.microsoft.com/office/powerpoint/2010/main" val="28717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E9EF9F8A-5BCA-0B40-1E65-E8CF14A399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73827E-2315-4245-8625-38ECD5A3466C}"/>
              </a:ext>
            </a:extLst>
          </p:cNvPr>
          <p:cNvSpPr>
            <a:spLocks noGrp="1"/>
          </p:cNvSpPr>
          <p:nvPr>
            <p:ph type="title"/>
          </p:nvPr>
        </p:nvSpPr>
        <p:spPr/>
        <p:txBody>
          <a:bodyPr vert="horz"/>
          <a:lstStyle/>
          <a:p>
            <a:r>
              <a:rPr lang="en-US" dirty="0"/>
              <a:t>Recommended Sprint</a:t>
            </a:r>
          </a:p>
        </p:txBody>
      </p:sp>
    </p:spTree>
    <p:extLst>
      <p:ext uri="{BB962C8B-B14F-4D97-AF65-F5344CB8AC3E}">
        <p14:creationId xmlns:p14="http://schemas.microsoft.com/office/powerpoint/2010/main" val="110293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4DA96B-54A8-4834-A2F6-589E669D88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Object 8" hidden="1">
                        <a:extLst>
                          <a:ext uri="{FF2B5EF4-FFF2-40B4-BE49-F238E27FC236}">
                            <a16:creationId xmlns:a16="http://schemas.microsoft.com/office/drawing/2014/main" id="{BA4DA96B-54A8-4834-A2F6-589E669D8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AEE950-CA0B-815E-8329-86AB7703496A}"/>
              </a:ext>
            </a:extLst>
          </p:cNvPr>
          <p:cNvSpPr>
            <a:spLocks noGrp="1"/>
          </p:cNvSpPr>
          <p:nvPr>
            <p:ph type="title"/>
          </p:nvPr>
        </p:nvSpPr>
        <p:spPr>
          <a:xfrm>
            <a:off x="457993" y="254660"/>
            <a:ext cx="11276013" cy="443198"/>
          </a:xfrm>
        </p:spPr>
        <p:txBody>
          <a:bodyPr vert="horz"/>
          <a:lstStyle/>
          <a:p>
            <a:r>
              <a:rPr lang="en-US" dirty="0"/>
              <a:t>7 Sections under IT Budget Tool</a:t>
            </a:r>
            <a:endParaRPr lang="en-IN" dirty="0"/>
          </a:p>
        </p:txBody>
      </p:sp>
      <p:sp>
        <p:nvSpPr>
          <p:cNvPr id="5" name="Rectangle 4">
            <a:extLst>
              <a:ext uri="{FF2B5EF4-FFF2-40B4-BE49-F238E27FC236}">
                <a16:creationId xmlns:a16="http://schemas.microsoft.com/office/drawing/2014/main" id="{A8FFBBF2-85CD-0FB0-761E-84812CB0B111}"/>
              </a:ext>
            </a:extLst>
          </p:cNvPr>
          <p:cNvSpPr/>
          <p:nvPr/>
        </p:nvSpPr>
        <p:spPr>
          <a:xfrm>
            <a:off x="457993" y="697858"/>
            <a:ext cx="11276012" cy="553907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15421583-F462-9AA9-9748-6068599BE55A}"/>
              </a:ext>
            </a:extLst>
          </p:cNvPr>
          <p:cNvGrpSpPr/>
          <p:nvPr/>
        </p:nvGrpSpPr>
        <p:grpSpPr>
          <a:xfrm>
            <a:off x="649622" y="722474"/>
            <a:ext cx="10893107" cy="5481856"/>
            <a:chOff x="529300" y="755073"/>
            <a:chExt cx="10893107" cy="5481856"/>
          </a:xfrm>
        </p:grpSpPr>
        <p:grpSp>
          <p:nvGrpSpPr>
            <p:cNvPr id="7" name="Group 6">
              <a:extLst>
                <a:ext uri="{FF2B5EF4-FFF2-40B4-BE49-F238E27FC236}">
                  <a16:creationId xmlns:a16="http://schemas.microsoft.com/office/drawing/2014/main" id="{B002B482-A755-EDAB-4A43-71824F411219}"/>
                </a:ext>
              </a:extLst>
            </p:cNvPr>
            <p:cNvGrpSpPr/>
            <p:nvPr/>
          </p:nvGrpSpPr>
          <p:grpSpPr>
            <a:xfrm>
              <a:off x="2078231" y="2394393"/>
              <a:ext cx="7804118" cy="3256097"/>
              <a:chOff x="1492604" y="2478877"/>
              <a:chExt cx="7804118" cy="3256097"/>
            </a:xfrm>
          </p:grpSpPr>
          <p:grpSp>
            <p:nvGrpSpPr>
              <p:cNvPr id="26" name="Group 25">
                <a:extLst>
                  <a:ext uri="{FF2B5EF4-FFF2-40B4-BE49-F238E27FC236}">
                    <a16:creationId xmlns:a16="http://schemas.microsoft.com/office/drawing/2014/main" id="{261212C1-8CF1-C082-A4D4-9F25A938C002}"/>
                  </a:ext>
                </a:extLst>
              </p:cNvPr>
              <p:cNvGrpSpPr/>
              <p:nvPr/>
            </p:nvGrpSpPr>
            <p:grpSpPr>
              <a:xfrm>
                <a:off x="1492604" y="2478877"/>
                <a:ext cx="7804118" cy="3256097"/>
                <a:chOff x="1304371" y="1475701"/>
                <a:chExt cx="9312088" cy="3906599"/>
              </a:xfrm>
            </p:grpSpPr>
            <p:sp>
              <p:nvSpPr>
                <p:cNvPr id="33" name="Freeform: Shape 32">
                  <a:extLst>
                    <a:ext uri="{FF2B5EF4-FFF2-40B4-BE49-F238E27FC236}">
                      <a16:creationId xmlns:a16="http://schemas.microsoft.com/office/drawing/2014/main" id="{04B4BD6E-B56B-4058-EF8E-DE54F599384F}"/>
                    </a:ext>
                  </a:extLst>
                </p:cNvPr>
                <p:cNvSpPr/>
                <p:nvPr/>
              </p:nvSpPr>
              <p:spPr>
                <a:xfrm>
                  <a:off x="2725960" y="147570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chemeClr val="bg1">
                    <a:lumMod val="85000"/>
                    <a:alpha val="50000"/>
                  </a:schemeClr>
                </a:solidFill>
                <a:ln>
                  <a:noFill/>
                </a:ln>
              </p:spPr>
              <p:style>
                <a:lnRef idx="1">
                  <a:schemeClr val="dk1"/>
                </a:lnRef>
                <a:fillRef idx="2">
                  <a:schemeClr val="dk1"/>
                </a:fillRef>
                <a:effectRef idx="1">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A0973053-7DA6-C3EC-F928-D351CCCF7C4F}"/>
                    </a:ext>
                  </a:extLst>
                </p:cNvPr>
                <p:cNvGrpSpPr/>
                <p:nvPr/>
              </p:nvGrpSpPr>
              <p:grpSpPr>
                <a:xfrm>
                  <a:off x="2998487" y="1706606"/>
                  <a:ext cx="5960717" cy="3003551"/>
                  <a:chOff x="3134072" y="425449"/>
                  <a:chExt cx="5960717" cy="3003551"/>
                </a:xfrm>
              </p:grpSpPr>
              <p:sp>
                <p:nvSpPr>
                  <p:cNvPr id="38" name="Freeform 5">
                    <a:extLst>
                      <a:ext uri="{FF2B5EF4-FFF2-40B4-BE49-F238E27FC236}">
                        <a16:creationId xmlns:a16="http://schemas.microsoft.com/office/drawing/2014/main" id="{16727BEE-6D03-3E44-F297-10C27E99CF20}"/>
                      </a:ext>
                    </a:extLst>
                  </p:cNvPr>
                  <p:cNvSpPr>
                    <a:spLocks/>
                  </p:cNvSpPr>
                  <p:nvPr/>
                </p:nvSpPr>
                <p:spPr bwMode="auto">
                  <a:xfrm>
                    <a:off x="6095821" y="425450"/>
                    <a:ext cx="1500187"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Freeform 6">
                    <a:extLst>
                      <a:ext uri="{FF2B5EF4-FFF2-40B4-BE49-F238E27FC236}">
                        <a16:creationId xmlns:a16="http://schemas.microsoft.com/office/drawing/2014/main" id="{8E4CAC30-AE01-0C1E-039E-4095D0152EDF}"/>
                      </a:ext>
                    </a:extLst>
                  </p:cNvPr>
                  <p:cNvSpPr>
                    <a:spLocks/>
                  </p:cNvSpPr>
                  <p:nvPr/>
                </p:nvSpPr>
                <p:spPr bwMode="auto">
                  <a:xfrm>
                    <a:off x="6921501" y="827088"/>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Freeform 7">
                    <a:extLst>
                      <a:ext uri="{FF2B5EF4-FFF2-40B4-BE49-F238E27FC236}">
                        <a16:creationId xmlns:a16="http://schemas.microsoft.com/office/drawing/2014/main" id="{8382AD27-40E7-D4E0-4C83-0E69E6ED7D98}"/>
                      </a:ext>
                    </a:extLst>
                  </p:cNvPr>
                  <p:cNvSpPr>
                    <a:spLocks/>
                  </p:cNvSpPr>
                  <p:nvPr/>
                </p:nvSpPr>
                <p:spPr bwMode="auto">
                  <a:xfrm>
                    <a:off x="7524751" y="1927225"/>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Freeform 14">
                    <a:extLst>
                      <a:ext uri="{FF2B5EF4-FFF2-40B4-BE49-F238E27FC236}">
                        <a16:creationId xmlns:a16="http://schemas.microsoft.com/office/drawing/2014/main" id="{D53E5BC9-037F-CEC1-5BF7-FDE301A48005}"/>
                      </a:ext>
                    </a:extLst>
                  </p:cNvPr>
                  <p:cNvSpPr>
                    <a:spLocks/>
                  </p:cNvSpPr>
                  <p:nvPr/>
                </p:nvSpPr>
                <p:spPr bwMode="auto">
                  <a:xfrm>
                    <a:off x="3134072" y="1892097"/>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Freeform 15">
                    <a:extLst>
                      <a:ext uri="{FF2B5EF4-FFF2-40B4-BE49-F238E27FC236}">
                        <a16:creationId xmlns:a16="http://schemas.microsoft.com/office/drawing/2014/main" id="{EBB8270F-015B-3D75-12CB-D9D80C8ED0F2}"/>
                      </a:ext>
                    </a:extLst>
                  </p:cNvPr>
                  <p:cNvSpPr>
                    <a:spLocks/>
                  </p:cNvSpPr>
                  <p:nvPr/>
                </p:nvSpPr>
                <p:spPr bwMode="auto">
                  <a:xfrm>
                    <a:off x="3513394" y="827088"/>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Freeform 16">
                    <a:extLst>
                      <a:ext uri="{FF2B5EF4-FFF2-40B4-BE49-F238E27FC236}">
                        <a16:creationId xmlns:a16="http://schemas.microsoft.com/office/drawing/2014/main" id="{D7A71B6F-1454-FC50-32C8-6E163B5B849E}"/>
                      </a:ext>
                    </a:extLst>
                  </p:cNvPr>
                  <p:cNvSpPr>
                    <a:spLocks/>
                  </p:cNvSpPr>
                  <p:nvPr/>
                </p:nvSpPr>
                <p:spPr bwMode="auto">
                  <a:xfrm>
                    <a:off x="4619154" y="425449"/>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5" name="Freeform: Shape 34">
                  <a:extLst>
                    <a:ext uri="{FF2B5EF4-FFF2-40B4-BE49-F238E27FC236}">
                      <a16:creationId xmlns:a16="http://schemas.microsoft.com/office/drawing/2014/main" id="{9965EE55-23AD-9115-EF3D-55E0F11CFB0A}"/>
                    </a:ext>
                  </a:extLst>
                </p:cNvPr>
                <p:cNvSpPr/>
                <p:nvPr/>
              </p:nvSpPr>
              <p:spPr>
                <a:xfrm>
                  <a:off x="3899117" y="2648063"/>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5121C49E-7E0A-5F9E-767A-C318DBFAA630}"/>
                    </a:ext>
                  </a:extLst>
                </p:cNvPr>
                <p:cNvSpPr/>
                <p:nvPr/>
              </p:nvSpPr>
              <p:spPr>
                <a:xfrm>
                  <a:off x="1304371" y="4646283"/>
                  <a:ext cx="9312088" cy="12774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D60870B1-7F5A-F4DB-687D-4D72F1F26F8E}"/>
                    </a:ext>
                  </a:extLst>
                </p:cNvPr>
                <p:cNvSpPr/>
                <p:nvPr/>
              </p:nvSpPr>
              <p:spPr>
                <a:xfrm>
                  <a:off x="5224398" y="3910266"/>
                  <a:ext cx="1472034" cy="1472034"/>
                </a:xfrm>
                <a:prstGeom prst="ellipse">
                  <a:avLst/>
                </a:prstGeom>
                <a:gradFill>
                  <a:gsLst>
                    <a:gs pos="0">
                      <a:schemeClr val="bg1">
                        <a:lumMod val="75000"/>
                      </a:schemeClr>
                    </a:gs>
                    <a:gs pos="50000">
                      <a:schemeClr val="bg1">
                        <a:lumMod val="65000"/>
                      </a:schemeClr>
                    </a:gs>
                    <a:gs pos="100000">
                      <a:schemeClr val="bg1">
                        <a:lumMod val="50000"/>
                      </a:schemeClr>
                    </a:gs>
                  </a:gsLst>
                </a:gradFill>
                <a:ln>
                  <a:noFill/>
                </a:ln>
              </p:spPr>
              <p:style>
                <a:lnRef idx="1">
                  <a:schemeClr val="dk1"/>
                </a:lnRef>
                <a:fillRef idx="2">
                  <a:schemeClr val="dk1"/>
                </a:fillRef>
                <a:effectRef idx="1">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Getting Started</a:t>
                  </a:r>
                </a:p>
              </p:txBody>
            </p:sp>
          </p:grpSp>
          <p:sp>
            <p:nvSpPr>
              <p:cNvPr id="27" name="TextBox 26">
                <a:extLst>
                  <a:ext uri="{FF2B5EF4-FFF2-40B4-BE49-F238E27FC236}">
                    <a16:creationId xmlns:a16="http://schemas.microsoft.com/office/drawing/2014/main" id="{70A33755-EEDD-A5C3-98A0-3C7D6F2E8146}"/>
                  </a:ext>
                </a:extLst>
              </p:cNvPr>
              <p:cNvSpPr txBox="1"/>
              <p:nvPr/>
            </p:nvSpPr>
            <p:spPr>
              <a:xfrm>
                <a:off x="3148119" y="4429863"/>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28" name="TextBox 27">
                <a:extLst>
                  <a:ext uri="{FF2B5EF4-FFF2-40B4-BE49-F238E27FC236}">
                    <a16:creationId xmlns:a16="http://schemas.microsoft.com/office/drawing/2014/main" id="{E0BD3322-B09D-7023-2E02-76C88BB452FB}"/>
                  </a:ext>
                </a:extLst>
              </p:cNvPr>
              <p:cNvSpPr txBox="1"/>
              <p:nvPr/>
            </p:nvSpPr>
            <p:spPr>
              <a:xfrm>
                <a:off x="3709225" y="3552869"/>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2</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ADFBA013-AD71-4C29-1852-77E2634F77B2}"/>
                  </a:ext>
                </a:extLst>
              </p:cNvPr>
              <p:cNvSpPr txBox="1"/>
              <p:nvPr/>
            </p:nvSpPr>
            <p:spPr>
              <a:xfrm>
                <a:off x="4598237" y="2990465"/>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3</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C155DF1A-8C53-A788-5A67-65E99E6E6350}"/>
                  </a:ext>
                </a:extLst>
              </p:cNvPr>
              <p:cNvSpPr txBox="1"/>
              <p:nvPr/>
            </p:nvSpPr>
            <p:spPr>
              <a:xfrm>
                <a:off x="5779301" y="2990465"/>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4</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DB442B9B-9A83-5C76-8CBC-CBDFD00AEB00}"/>
                  </a:ext>
                </a:extLst>
              </p:cNvPr>
              <p:cNvSpPr txBox="1"/>
              <p:nvPr/>
            </p:nvSpPr>
            <p:spPr>
              <a:xfrm>
                <a:off x="6620897" y="3524432"/>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5</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6A9A23C8-3D29-A673-8838-EB7AAF601531}"/>
                  </a:ext>
                </a:extLst>
              </p:cNvPr>
              <p:cNvSpPr txBox="1"/>
              <p:nvPr/>
            </p:nvSpPr>
            <p:spPr>
              <a:xfrm>
                <a:off x="7184845" y="4452138"/>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6</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8" name="Picture 7">
              <a:extLst>
                <a:ext uri="{FF2B5EF4-FFF2-40B4-BE49-F238E27FC236}">
                  <a16:creationId xmlns:a16="http://schemas.microsoft.com/office/drawing/2014/main" id="{07714E07-2426-E8C7-26B1-C49AD35DDB4E}"/>
                </a:ext>
              </a:extLst>
            </p:cNvPr>
            <p:cNvPicPr>
              <a:picLocks noChangeAspect="1"/>
            </p:cNvPicPr>
            <p:nvPr/>
          </p:nvPicPr>
          <p:blipFill>
            <a:blip r:embed="rId5"/>
            <a:stretch>
              <a:fillRect/>
            </a:stretch>
          </p:blipFill>
          <p:spPr>
            <a:xfrm>
              <a:off x="3235148" y="5708689"/>
              <a:ext cx="5110615" cy="528240"/>
            </a:xfrm>
            <a:prstGeom prst="rect">
              <a:avLst/>
            </a:prstGeom>
            <a:effectLst>
              <a:outerShdw blurRad="50800" dist="38100" dir="2700000" algn="tl" rotWithShape="0">
                <a:prstClr val="black">
                  <a:alpha val="40000"/>
                </a:prstClr>
              </a:outerShdw>
            </a:effectLst>
          </p:spPr>
        </p:pic>
        <p:cxnSp>
          <p:nvCxnSpPr>
            <p:cNvPr id="10" name="Straight Connector 9">
              <a:extLst>
                <a:ext uri="{FF2B5EF4-FFF2-40B4-BE49-F238E27FC236}">
                  <a16:creationId xmlns:a16="http://schemas.microsoft.com/office/drawing/2014/main" id="{D80546F9-30EB-3E33-561C-8952A705FF36}"/>
                </a:ext>
              </a:extLst>
            </p:cNvPr>
            <p:cNvCxnSpPr>
              <a:cxnSpLocks/>
            </p:cNvCxnSpPr>
            <p:nvPr/>
          </p:nvCxnSpPr>
          <p:spPr>
            <a:xfrm flipH="1" flipV="1">
              <a:off x="2965964" y="4464413"/>
              <a:ext cx="343357" cy="46228"/>
            </a:xfrm>
            <a:prstGeom prst="line">
              <a:avLst/>
            </a:prstGeom>
            <a:noFill/>
            <a:ln w="12700" cap="flat" cmpd="sng">
              <a:solidFill>
                <a:srgbClr val="6F7878"/>
              </a:solidFill>
              <a:prstDash val="dash"/>
              <a:round/>
              <a:headEnd type="none" w="lg" len="med"/>
              <a:tailEnd type="none" w="lg" len="med"/>
            </a:ln>
          </p:spPr>
        </p:cxnSp>
        <p:pic>
          <p:nvPicPr>
            <p:cNvPr id="11" name="Picture 10">
              <a:extLst>
                <a:ext uri="{FF2B5EF4-FFF2-40B4-BE49-F238E27FC236}">
                  <a16:creationId xmlns:a16="http://schemas.microsoft.com/office/drawing/2014/main" id="{F5D1CA34-F30E-C664-2A01-8C0FC945C0D8}"/>
                </a:ext>
              </a:extLst>
            </p:cNvPr>
            <p:cNvPicPr>
              <a:picLocks noChangeAspect="1"/>
            </p:cNvPicPr>
            <p:nvPr/>
          </p:nvPicPr>
          <p:blipFill>
            <a:blip r:embed="rId6"/>
            <a:stretch>
              <a:fillRect/>
            </a:stretch>
          </p:blipFill>
          <p:spPr>
            <a:xfrm>
              <a:off x="1166326" y="1944998"/>
              <a:ext cx="2454714" cy="1478060"/>
            </a:xfrm>
            <a:prstGeom prst="rect">
              <a:avLst/>
            </a:prstGeom>
            <a:effectLst>
              <a:outerShdw blurRad="50800" dist="38100" dir="2700000" algn="tl" rotWithShape="0">
                <a:prstClr val="black">
                  <a:alpha val="40000"/>
                </a:prstClr>
              </a:outerShdw>
            </a:effectLst>
          </p:spPr>
        </p:pic>
        <p:cxnSp>
          <p:nvCxnSpPr>
            <p:cNvPr id="12" name="Straight Connector 11">
              <a:extLst>
                <a:ext uri="{FF2B5EF4-FFF2-40B4-BE49-F238E27FC236}">
                  <a16:creationId xmlns:a16="http://schemas.microsoft.com/office/drawing/2014/main" id="{7FF07B08-6F9C-3680-752D-4576BBE0781D}"/>
                </a:ext>
              </a:extLst>
            </p:cNvPr>
            <p:cNvCxnSpPr>
              <a:cxnSpLocks/>
            </p:cNvCxnSpPr>
            <p:nvPr/>
          </p:nvCxnSpPr>
          <p:spPr>
            <a:xfrm flipH="1" flipV="1">
              <a:off x="3621040" y="2674579"/>
              <a:ext cx="432404" cy="440918"/>
            </a:xfrm>
            <a:prstGeom prst="line">
              <a:avLst/>
            </a:prstGeom>
            <a:noFill/>
            <a:ln w="12700" cap="flat" cmpd="sng">
              <a:solidFill>
                <a:srgbClr val="6F7878"/>
              </a:solidFill>
              <a:prstDash val="dash"/>
              <a:round/>
              <a:headEnd type="none" w="lg" len="med"/>
              <a:tailEnd type="none" w="lg" len="med"/>
            </a:ln>
          </p:spPr>
        </p:cxnSp>
        <p:pic>
          <p:nvPicPr>
            <p:cNvPr id="13" name="Picture 12">
              <a:extLst>
                <a:ext uri="{FF2B5EF4-FFF2-40B4-BE49-F238E27FC236}">
                  <a16:creationId xmlns:a16="http://schemas.microsoft.com/office/drawing/2014/main" id="{D550CB89-59ED-D5E7-539D-D8E1B134A5DF}"/>
                </a:ext>
              </a:extLst>
            </p:cNvPr>
            <p:cNvPicPr>
              <a:picLocks noChangeAspect="1"/>
            </p:cNvPicPr>
            <p:nvPr/>
          </p:nvPicPr>
          <p:blipFill>
            <a:blip r:embed="rId7"/>
            <a:stretch>
              <a:fillRect/>
            </a:stretch>
          </p:blipFill>
          <p:spPr>
            <a:xfrm>
              <a:off x="3725561" y="759021"/>
              <a:ext cx="2328462" cy="1367798"/>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DB4A5F5-8419-0CF9-25B8-01DA7183A971}"/>
                </a:ext>
              </a:extLst>
            </p:cNvPr>
            <p:cNvPicPr>
              <a:picLocks noChangeAspect="1"/>
            </p:cNvPicPr>
            <p:nvPr/>
          </p:nvPicPr>
          <p:blipFill>
            <a:blip r:embed="rId8"/>
            <a:stretch>
              <a:fillRect/>
            </a:stretch>
          </p:blipFill>
          <p:spPr>
            <a:xfrm>
              <a:off x="529300" y="3589861"/>
              <a:ext cx="2436664" cy="1478060"/>
            </a:xfrm>
            <a:prstGeom prst="rect">
              <a:avLst/>
            </a:prstGeom>
            <a:effectLst>
              <a:outerShdw blurRad="50800" dist="38100" dir="2700000" algn="tl" rotWithShape="0">
                <a:prstClr val="black">
                  <a:alpha val="40000"/>
                </a:prstClr>
              </a:outerShdw>
            </a:effectLst>
          </p:spPr>
        </p:pic>
        <p:cxnSp>
          <p:nvCxnSpPr>
            <p:cNvPr id="16" name="Straight Connector 15">
              <a:extLst>
                <a:ext uri="{FF2B5EF4-FFF2-40B4-BE49-F238E27FC236}">
                  <a16:creationId xmlns:a16="http://schemas.microsoft.com/office/drawing/2014/main" id="{FA7F236B-1132-22FD-37DE-82A845A85F41}"/>
                </a:ext>
              </a:extLst>
            </p:cNvPr>
            <p:cNvCxnSpPr>
              <a:cxnSpLocks/>
            </p:cNvCxnSpPr>
            <p:nvPr/>
          </p:nvCxnSpPr>
          <p:spPr>
            <a:xfrm flipH="1" flipV="1">
              <a:off x="5127930" y="2156097"/>
              <a:ext cx="131602" cy="303268"/>
            </a:xfrm>
            <a:prstGeom prst="line">
              <a:avLst/>
            </a:prstGeom>
            <a:noFill/>
            <a:ln w="12700" cap="flat" cmpd="sng">
              <a:solidFill>
                <a:srgbClr val="6F7878"/>
              </a:solidFill>
              <a:prstDash val="dash"/>
              <a:round/>
              <a:headEnd type="none" w="lg" len="med"/>
              <a:tailEnd type="none" w="lg" len="med"/>
            </a:ln>
          </p:spPr>
        </p:cxnSp>
        <p:pic>
          <p:nvPicPr>
            <p:cNvPr id="18" name="Picture 17">
              <a:extLst>
                <a:ext uri="{FF2B5EF4-FFF2-40B4-BE49-F238E27FC236}">
                  <a16:creationId xmlns:a16="http://schemas.microsoft.com/office/drawing/2014/main" id="{16ED935F-EE89-07F2-EA39-0991D1DDA62D}"/>
                </a:ext>
              </a:extLst>
            </p:cNvPr>
            <p:cNvPicPr>
              <a:picLocks noChangeAspect="1"/>
            </p:cNvPicPr>
            <p:nvPr/>
          </p:nvPicPr>
          <p:blipFill>
            <a:blip r:embed="rId9"/>
            <a:stretch>
              <a:fillRect/>
            </a:stretch>
          </p:blipFill>
          <p:spPr>
            <a:xfrm>
              <a:off x="6219214" y="755073"/>
              <a:ext cx="2133319" cy="1397077"/>
            </a:xfrm>
            <a:prstGeom prst="rect">
              <a:avLst/>
            </a:prstGeom>
            <a:effectLst>
              <a:outerShdw blurRad="50800" dist="38100" dir="2700000" algn="tl" rotWithShape="0">
                <a:prstClr val="black">
                  <a:alpha val="40000"/>
                </a:prstClr>
              </a:outerShdw>
            </a:effectLst>
          </p:spPr>
        </p:pic>
        <p:cxnSp>
          <p:nvCxnSpPr>
            <p:cNvPr id="19" name="Straight Connector 18">
              <a:extLst>
                <a:ext uri="{FF2B5EF4-FFF2-40B4-BE49-F238E27FC236}">
                  <a16:creationId xmlns:a16="http://schemas.microsoft.com/office/drawing/2014/main" id="{ACDC72FE-4854-2779-5B86-42736880716B}"/>
                </a:ext>
              </a:extLst>
            </p:cNvPr>
            <p:cNvCxnSpPr>
              <a:cxnSpLocks/>
            </p:cNvCxnSpPr>
            <p:nvPr/>
          </p:nvCxnSpPr>
          <p:spPr>
            <a:xfrm flipV="1">
              <a:off x="6821127" y="2152151"/>
              <a:ext cx="90387" cy="369434"/>
            </a:xfrm>
            <a:prstGeom prst="line">
              <a:avLst/>
            </a:prstGeom>
            <a:noFill/>
            <a:ln w="12700" cap="flat" cmpd="sng">
              <a:solidFill>
                <a:srgbClr val="6F7878"/>
              </a:solidFill>
              <a:prstDash val="dash"/>
              <a:round/>
              <a:headEnd type="none" w="lg" len="med"/>
              <a:tailEnd type="none" w="lg" len="med"/>
            </a:ln>
          </p:spPr>
        </p:cxnSp>
        <p:pic>
          <p:nvPicPr>
            <p:cNvPr id="22" name="Picture 21">
              <a:extLst>
                <a:ext uri="{FF2B5EF4-FFF2-40B4-BE49-F238E27FC236}">
                  <a16:creationId xmlns:a16="http://schemas.microsoft.com/office/drawing/2014/main" id="{75287910-8DDE-562D-DD1C-3A045B289348}"/>
                </a:ext>
              </a:extLst>
            </p:cNvPr>
            <p:cNvPicPr>
              <a:picLocks noChangeAspect="1"/>
            </p:cNvPicPr>
            <p:nvPr/>
          </p:nvPicPr>
          <p:blipFill>
            <a:blip r:embed="rId10"/>
            <a:stretch>
              <a:fillRect/>
            </a:stretch>
          </p:blipFill>
          <p:spPr>
            <a:xfrm>
              <a:off x="8493464" y="1944998"/>
              <a:ext cx="2406523" cy="1463307"/>
            </a:xfrm>
            <a:prstGeom prst="rect">
              <a:avLst/>
            </a:prstGeom>
            <a:effectLst>
              <a:outerShdw blurRad="50800" dist="38100" dir="2700000" algn="tl" rotWithShape="0">
                <a:prstClr val="black">
                  <a:alpha val="40000"/>
                </a:prstClr>
              </a:outerShdw>
            </a:effectLst>
          </p:spPr>
        </p:pic>
        <p:cxnSp>
          <p:nvCxnSpPr>
            <p:cNvPr id="23" name="Straight Connector 22">
              <a:extLst>
                <a:ext uri="{FF2B5EF4-FFF2-40B4-BE49-F238E27FC236}">
                  <a16:creationId xmlns:a16="http://schemas.microsoft.com/office/drawing/2014/main" id="{6EBFD6B9-706C-9710-5AAA-0D2AFD5C0A25}"/>
                </a:ext>
              </a:extLst>
            </p:cNvPr>
            <p:cNvCxnSpPr>
              <a:cxnSpLocks/>
              <a:endCxn id="22" idx="1"/>
            </p:cNvCxnSpPr>
            <p:nvPr/>
          </p:nvCxnSpPr>
          <p:spPr>
            <a:xfrm flipV="1">
              <a:off x="7977504" y="2676652"/>
              <a:ext cx="515960" cy="509314"/>
            </a:xfrm>
            <a:prstGeom prst="line">
              <a:avLst/>
            </a:prstGeom>
            <a:noFill/>
            <a:ln w="12700" cap="flat" cmpd="sng">
              <a:solidFill>
                <a:srgbClr val="6F7878"/>
              </a:solidFill>
              <a:prstDash val="dash"/>
              <a:round/>
              <a:headEnd type="none" w="lg" len="med"/>
              <a:tailEnd type="none" w="lg" len="med"/>
            </a:ln>
          </p:spPr>
        </p:cxnSp>
        <p:pic>
          <p:nvPicPr>
            <p:cNvPr id="24" name="Picture 23">
              <a:extLst>
                <a:ext uri="{FF2B5EF4-FFF2-40B4-BE49-F238E27FC236}">
                  <a16:creationId xmlns:a16="http://schemas.microsoft.com/office/drawing/2014/main" id="{3FFEE038-6635-F42B-1564-797013165087}"/>
                </a:ext>
              </a:extLst>
            </p:cNvPr>
            <p:cNvPicPr>
              <a:picLocks noChangeAspect="1"/>
            </p:cNvPicPr>
            <p:nvPr/>
          </p:nvPicPr>
          <p:blipFill>
            <a:blip r:embed="rId11"/>
            <a:stretch>
              <a:fillRect/>
            </a:stretch>
          </p:blipFill>
          <p:spPr>
            <a:xfrm>
              <a:off x="9015883" y="3589861"/>
              <a:ext cx="2406524" cy="1469944"/>
            </a:xfrm>
            <a:prstGeom prst="rect">
              <a:avLst/>
            </a:prstGeom>
            <a:effectLst>
              <a:outerShdw blurRad="50800" dist="38100" dir="2700000" algn="tl" rotWithShape="0">
                <a:prstClr val="black">
                  <a:alpha val="40000"/>
                </a:prstClr>
              </a:outerShdw>
            </a:effectLst>
          </p:spPr>
        </p:pic>
        <p:cxnSp>
          <p:nvCxnSpPr>
            <p:cNvPr id="25" name="Straight Connector 24">
              <a:extLst>
                <a:ext uri="{FF2B5EF4-FFF2-40B4-BE49-F238E27FC236}">
                  <a16:creationId xmlns:a16="http://schemas.microsoft.com/office/drawing/2014/main" id="{176242D1-55DF-4410-D0EB-B9D7DF40C6CC}"/>
                </a:ext>
              </a:extLst>
            </p:cNvPr>
            <p:cNvCxnSpPr>
              <a:cxnSpLocks/>
              <a:stCxn id="24" idx="1"/>
            </p:cNvCxnSpPr>
            <p:nvPr/>
          </p:nvCxnSpPr>
          <p:spPr>
            <a:xfrm flipH="1">
              <a:off x="8634369" y="4324833"/>
              <a:ext cx="381514" cy="205212"/>
            </a:xfrm>
            <a:prstGeom prst="line">
              <a:avLst/>
            </a:prstGeom>
            <a:noFill/>
            <a:ln w="12700" cap="flat" cmpd="sng">
              <a:solidFill>
                <a:srgbClr val="6F7878"/>
              </a:solidFill>
              <a:prstDash val="dash"/>
              <a:round/>
              <a:headEnd type="none" w="lg" len="med"/>
              <a:tailEnd type="none" w="lg" len="med"/>
            </a:ln>
          </p:spPr>
        </p:cxnSp>
      </p:grpSp>
    </p:spTree>
    <p:extLst>
      <p:ext uri="{BB962C8B-B14F-4D97-AF65-F5344CB8AC3E}">
        <p14:creationId xmlns:p14="http://schemas.microsoft.com/office/powerpoint/2010/main" val="1679911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39FB48F-AD08-3B03-1D31-1F9AD6E221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Object 11" hidden="1">
                        <a:extLst>
                          <a:ext uri="{FF2B5EF4-FFF2-40B4-BE49-F238E27FC236}">
                            <a16:creationId xmlns:a16="http://schemas.microsoft.com/office/drawing/2014/main" id="{C39FB48F-AD08-3B03-1D31-1F9AD6E221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3">
            <a:extLst>
              <a:ext uri="{FF2B5EF4-FFF2-40B4-BE49-F238E27FC236}">
                <a16:creationId xmlns:a16="http://schemas.microsoft.com/office/drawing/2014/main" id="{5F9D4261-567A-0066-3399-FB7E8C092FF3}"/>
              </a:ext>
            </a:extLst>
          </p:cNvPr>
          <p:cNvGraphicFramePr>
            <a:graphicFrameLocks noGrp="1"/>
          </p:cNvGraphicFramePr>
          <p:nvPr>
            <p:ph sz="half" idx="1"/>
          </p:nvPr>
        </p:nvGraphicFramePr>
        <p:xfrm>
          <a:off x="268941" y="885932"/>
          <a:ext cx="11572539" cy="131820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Title 1">
            <a:extLst>
              <a:ext uri="{FF2B5EF4-FFF2-40B4-BE49-F238E27FC236}">
                <a16:creationId xmlns:a16="http://schemas.microsoft.com/office/drawing/2014/main" id="{7845B3BD-23F3-7B0B-0043-FD3B79687DFC}"/>
              </a:ext>
            </a:extLst>
          </p:cNvPr>
          <p:cNvSpPr>
            <a:spLocks noGrp="1"/>
          </p:cNvSpPr>
          <p:nvPr>
            <p:ph type="title"/>
          </p:nvPr>
        </p:nvSpPr>
        <p:spPr/>
        <p:txBody>
          <a:bodyPr vert="horz"/>
          <a:lstStyle/>
          <a:p>
            <a:r>
              <a:rPr lang="en-US" dirty="0"/>
              <a:t>7 Sections under IT Budget Tool - </a:t>
            </a:r>
            <a:r>
              <a:rPr lang="en-US" dirty="0">
                <a:solidFill>
                  <a:schemeClr val="accent4"/>
                </a:solidFill>
              </a:rPr>
              <a:t>Significance</a:t>
            </a:r>
          </a:p>
        </p:txBody>
      </p:sp>
      <p:grpSp>
        <p:nvGrpSpPr>
          <p:cNvPr id="3" name="Group 2">
            <a:extLst>
              <a:ext uri="{FF2B5EF4-FFF2-40B4-BE49-F238E27FC236}">
                <a16:creationId xmlns:a16="http://schemas.microsoft.com/office/drawing/2014/main" id="{ED110C5A-D2F8-6FF3-D9ED-3FBBA0B3F774}"/>
              </a:ext>
            </a:extLst>
          </p:cNvPr>
          <p:cNvGrpSpPr/>
          <p:nvPr/>
        </p:nvGrpSpPr>
        <p:grpSpPr>
          <a:xfrm>
            <a:off x="346918" y="2139698"/>
            <a:ext cx="1540413" cy="3832369"/>
            <a:chOff x="457198" y="3402216"/>
            <a:chExt cx="1559834" cy="2585835"/>
          </a:xfrm>
        </p:grpSpPr>
        <p:sp>
          <p:nvSpPr>
            <p:cNvPr id="26" name="Rectangle 25">
              <a:extLst>
                <a:ext uri="{FF2B5EF4-FFF2-40B4-BE49-F238E27FC236}">
                  <a16:creationId xmlns:a16="http://schemas.microsoft.com/office/drawing/2014/main" id="{F3676CB1-A520-583A-65E6-D48A5E8E6CFD}"/>
                </a:ext>
              </a:extLst>
            </p:cNvPr>
            <p:cNvSpPr/>
            <p:nvPr/>
          </p:nvSpPr>
          <p:spPr>
            <a:xfrm>
              <a:off x="457198" y="3643420"/>
              <a:ext cx="1559834"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F31EEDF4-E6A9-86F5-B561-1616914C8E0A}"/>
                </a:ext>
              </a:extLst>
            </p:cNvPr>
            <p:cNvSpPr/>
            <p:nvPr/>
          </p:nvSpPr>
          <p:spPr>
            <a:xfrm>
              <a:off x="457198" y="3402216"/>
              <a:ext cx="1559834"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28" name="TextBox 27">
              <a:extLst>
                <a:ext uri="{FF2B5EF4-FFF2-40B4-BE49-F238E27FC236}">
                  <a16:creationId xmlns:a16="http://schemas.microsoft.com/office/drawing/2014/main" id="{B6FFA1A0-BC4A-92CB-4319-2666ABF73923}"/>
                </a:ext>
              </a:extLst>
            </p:cNvPr>
            <p:cNvSpPr txBox="1"/>
            <p:nvPr/>
          </p:nvSpPr>
          <p:spPr>
            <a:xfrm>
              <a:off x="523540" y="3635943"/>
              <a:ext cx="1427148" cy="2097444"/>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Determines what IT Spending and Staffing will be included in analysis (only that which matches the business scope)</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The basis for all top-level IT efficiency and productivity metric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The data entered here will be allocated in other tabs to create all of distribution metrics. </a:t>
              </a:r>
            </a:p>
          </p:txBody>
        </p:sp>
      </p:grpSp>
      <p:grpSp>
        <p:nvGrpSpPr>
          <p:cNvPr id="111" name="Group 110">
            <a:extLst>
              <a:ext uri="{FF2B5EF4-FFF2-40B4-BE49-F238E27FC236}">
                <a16:creationId xmlns:a16="http://schemas.microsoft.com/office/drawing/2014/main" id="{3AB6BEC8-6D7E-1027-349F-2FA239B4B215}"/>
              </a:ext>
            </a:extLst>
          </p:cNvPr>
          <p:cNvGrpSpPr/>
          <p:nvPr/>
        </p:nvGrpSpPr>
        <p:grpSpPr>
          <a:xfrm>
            <a:off x="2038753" y="2139698"/>
            <a:ext cx="1504401" cy="3832370"/>
            <a:chOff x="457198" y="3518777"/>
            <a:chExt cx="1523368" cy="2469273"/>
          </a:xfrm>
        </p:grpSpPr>
        <p:sp>
          <p:nvSpPr>
            <p:cNvPr id="114" name="Rectangle 113">
              <a:extLst>
                <a:ext uri="{FF2B5EF4-FFF2-40B4-BE49-F238E27FC236}">
                  <a16:creationId xmlns:a16="http://schemas.microsoft.com/office/drawing/2014/main" id="{968655FA-8733-4776-7547-FCFD7C8B4734}"/>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5" name="Rectangle 114">
              <a:extLst>
                <a:ext uri="{FF2B5EF4-FFF2-40B4-BE49-F238E27FC236}">
                  <a16:creationId xmlns:a16="http://schemas.microsoft.com/office/drawing/2014/main" id="{FFE4C8FC-FBDF-4E51-2FF9-68977CDE222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116" name="TextBox 115">
              <a:extLst>
                <a:ext uri="{FF2B5EF4-FFF2-40B4-BE49-F238E27FC236}">
                  <a16:creationId xmlns:a16="http://schemas.microsoft.com/office/drawing/2014/main" id="{5825E731-D621-4657-B339-2D9F302AD23C}"/>
                </a:ext>
              </a:extLst>
            </p:cNvPr>
            <p:cNvSpPr txBox="1"/>
            <p:nvPr/>
          </p:nvSpPr>
          <p:spPr>
            <a:xfrm>
              <a:off x="510927" y="3741969"/>
              <a:ext cx="1400342" cy="1467469"/>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This exercise can help sharpen alignment with business perception around key investment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Can help IT articulate spending variances due to business change and implications of cost cutting.  </a:t>
              </a:r>
            </a:p>
          </p:txBody>
        </p:sp>
      </p:grpSp>
      <p:grpSp>
        <p:nvGrpSpPr>
          <p:cNvPr id="118" name="Group 117">
            <a:extLst>
              <a:ext uri="{FF2B5EF4-FFF2-40B4-BE49-F238E27FC236}">
                <a16:creationId xmlns:a16="http://schemas.microsoft.com/office/drawing/2014/main" id="{CF1CDB74-9F64-025F-E40B-0ED53FAD366B}"/>
              </a:ext>
            </a:extLst>
          </p:cNvPr>
          <p:cNvGrpSpPr/>
          <p:nvPr/>
        </p:nvGrpSpPr>
        <p:grpSpPr>
          <a:xfrm>
            <a:off x="3694014" y="2139698"/>
            <a:ext cx="1504401" cy="3832369"/>
            <a:chOff x="457198" y="3518777"/>
            <a:chExt cx="1523368" cy="2469273"/>
          </a:xfrm>
        </p:grpSpPr>
        <p:sp>
          <p:nvSpPr>
            <p:cNvPr id="121" name="Rectangle 120">
              <a:extLst>
                <a:ext uri="{FF2B5EF4-FFF2-40B4-BE49-F238E27FC236}">
                  <a16:creationId xmlns:a16="http://schemas.microsoft.com/office/drawing/2014/main" id="{059BCB53-8960-3FC4-24CC-2674F5A926F8}"/>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2" name="Rectangle 121">
              <a:extLst>
                <a:ext uri="{FF2B5EF4-FFF2-40B4-BE49-F238E27FC236}">
                  <a16:creationId xmlns:a16="http://schemas.microsoft.com/office/drawing/2014/main" id="{8EE2B27C-4D86-4009-39D0-9E4007EE5E4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123" name="TextBox 122">
              <a:extLst>
                <a:ext uri="{FF2B5EF4-FFF2-40B4-BE49-F238E27FC236}">
                  <a16:creationId xmlns:a16="http://schemas.microsoft.com/office/drawing/2014/main" id="{D4E36FD1-263E-AF53-DC7B-E0512BB9612E}"/>
                </a:ext>
              </a:extLst>
            </p:cNvPr>
            <p:cNvSpPr txBox="1"/>
            <p:nvPr/>
          </p:nvSpPr>
          <p:spPr>
            <a:xfrm>
              <a:off x="515681" y="3749107"/>
              <a:ext cx="1413738" cy="1259247"/>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Identifies deeper knowledge of the technology portfolio and highlight in-depth distribution around IT Technical Functions which signifies an overall IT Budget planning and execution</a:t>
              </a:r>
            </a:p>
          </p:txBody>
        </p:sp>
      </p:grpSp>
      <p:grpSp>
        <p:nvGrpSpPr>
          <p:cNvPr id="125" name="Group 124">
            <a:extLst>
              <a:ext uri="{FF2B5EF4-FFF2-40B4-BE49-F238E27FC236}">
                <a16:creationId xmlns:a16="http://schemas.microsoft.com/office/drawing/2014/main" id="{79752B97-25D1-7157-156A-2096F8417162}"/>
              </a:ext>
            </a:extLst>
          </p:cNvPr>
          <p:cNvGrpSpPr/>
          <p:nvPr/>
        </p:nvGrpSpPr>
        <p:grpSpPr>
          <a:xfrm>
            <a:off x="5339586" y="2139698"/>
            <a:ext cx="1504401" cy="3832369"/>
            <a:chOff x="457198" y="3518777"/>
            <a:chExt cx="1523368" cy="2469273"/>
          </a:xfrm>
        </p:grpSpPr>
        <p:sp>
          <p:nvSpPr>
            <p:cNvPr id="128" name="Rectangle 127">
              <a:extLst>
                <a:ext uri="{FF2B5EF4-FFF2-40B4-BE49-F238E27FC236}">
                  <a16:creationId xmlns:a16="http://schemas.microsoft.com/office/drawing/2014/main" id="{DBA61B01-3F55-0799-2094-BAD760C5CB1E}"/>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E789B25F-7A05-92D1-0112-109E20287E73}"/>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130" name="TextBox 129">
              <a:extLst>
                <a:ext uri="{FF2B5EF4-FFF2-40B4-BE49-F238E27FC236}">
                  <a16:creationId xmlns:a16="http://schemas.microsoft.com/office/drawing/2014/main" id="{6D2A7C0B-51C9-922E-949B-08A26BEA0B45}"/>
                </a:ext>
              </a:extLst>
            </p:cNvPr>
            <p:cNvSpPr txBox="1"/>
            <p:nvPr/>
          </p:nvSpPr>
          <p:spPr>
            <a:xfrm>
              <a:off x="516818" y="3749107"/>
              <a:ext cx="1404126" cy="1368316"/>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Aids in understanding allocation and possible tradeoffs between types of assets e.g., Hardware versus IaaS, Personnel versus Traditional Outsourcing, Traditional Software vs SaaS</a:t>
              </a:r>
            </a:p>
          </p:txBody>
        </p:sp>
      </p:grpSp>
      <p:grpSp>
        <p:nvGrpSpPr>
          <p:cNvPr id="132" name="Group 131">
            <a:extLst>
              <a:ext uri="{FF2B5EF4-FFF2-40B4-BE49-F238E27FC236}">
                <a16:creationId xmlns:a16="http://schemas.microsoft.com/office/drawing/2014/main" id="{9841DC7A-BA11-50EF-7B62-1E88E755336D}"/>
              </a:ext>
            </a:extLst>
          </p:cNvPr>
          <p:cNvGrpSpPr/>
          <p:nvPr/>
        </p:nvGrpSpPr>
        <p:grpSpPr>
          <a:xfrm>
            <a:off x="6985160" y="2139698"/>
            <a:ext cx="1504401" cy="3832369"/>
            <a:chOff x="457198" y="3518777"/>
            <a:chExt cx="1523368" cy="2469273"/>
          </a:xfrm>
        </p:grpSpPr>
        <p:sp>
          <p:nvSpPr>
            <p:cNvPr id="135" name="Rectangle 134">
              <a:extLst>
                <a:ext uri="{FF2B5EF4-FFF2-40B4-BE49-F238E27FC236}">
                  <a16:creationId xmlns:a16="http://schemas.microsoft.com/office/drawing/2014/main" id="{D38C8C75-18FA-5EFB-CB33-8925D3C99B7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6" name="Rectangle 135">
              <a:extLst>
                <a:ext uri="{FF2B5EF4-FFF2-40B4-BE49-F238E27FC236}">
                  <a16:creationId xmlns:a16="http://schemas.microsoft.com/office/drawing/2014/main" id="{53922CA7-012D-E2C8-5398-B022C9F17397}"/>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137" name="TextBox 136">
              <a:extLst>
                <a:ext uri="{FF2B5EF4-FFF2-40B4-BE49-F238E27FC236}">
                  <a16:creationId xmlns:a16="http://schemas.microsoft.com/office/drawing/2014/main" id="{B3993142-D446-65C9-3A59-9FB9C603021C}"/>
                </a:ext>
              </a:extLst>
            </p:cNvPr>
            <p:cNvSpPr txBox="1"/>
            <p:nvPr/>
          </p:nvSpPr>
          <p:spPr>
            <a:xfrm>
              <a:off x="516993" y="3751885"/>
              <a:ext cx="1403776" cy="1140263"/>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Understanding of the types of functions where human capital is leveraged.</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Can aid in analysis around distribution of resources and/or sourcing decisions. </a:t>
              </a:r>
            </a:p>
          </p:txBody>
        </p:sp>
      </p:grpSp>
      <p:grpSp>
        <p:nvGrpSpPr>
          <p:cNvPr id="139" name="Group 138">
            <a:extLst>
              <a:ext uri="{FF2B5EF4-FFF2-40B4-BE49-F238E27FC236}">
                <a16:creationId xmlns:a16="http://schemas.microsoft.com/office/drawing/2014/main" id="{E210E1B4-0C89-4958-908D-B7D8F6C82DDF}"/>
              </a:ext>
            </a:extLst>
          </p:cNvPr>
          <p:cNvGrpSpPr/>
          <p:nvPr/>
        </p:nvGrpSpPr>
        <p:grpSpPr>
          <a:xfrm>
            <a:off x="8630736" y="2139697"/>
            <a:ext cx="1504401" cy="3832370"/>
            <a:chOff x="457198" y="3518777"/>
            <a:chExt cx="1523368" cy="2469273"/>
          </a:xfrm>
        </p:grpSpPr>
        <p:sp>
          <p:nvSpPr>
            <p:cNvPr id="142" name="Rectangle 141">
              <a:extLst>
                <a:ext uri="{FF2B5EF4-FFF2-40B4-BE49-F238E27FC236}">
                  <a16:creationId xmlns:a16="http://schemas.microsoft.com/office/drawing/2014/main" id="{8594407B-C2CE-063B-3CFA-DEA4E5B093A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3" name="Rectangle 142">
              <a:extLst>
                <a:ext uri="{FF2B5EF4-FFF2-40B4-BE49-F238E27FC236}">
                  <a16:creationId xmlns:a16="http://schemas.microsoft.com/office/drawing/2014/main" id="{E9D98216-8F38-510D-EE31-65BE377F90D0}"/>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144" name="TextBox 143">
              <a:extLst>
                <a:ext uri="{FF2B5EF4-FFF2-40B4-BE49-F238E27FC236}">
                  <a16:creationId xmlns:a16="http://schemas.microsoft.com/office/drawing/2014/main" id="{62EE74E8-2246-7B46-C82A-D92CD46B0A7E}"/>
                </a:ext>
              </a:extLst>
            </p:cNvPr>
            <p:cNvSpPr txBox="1"/>
            <p:nvPr/>
          </p:nvSpPr>
          <p:spPr>
            <a:xfrm>
              <a:off x="517168" y="3749108"/>
              <a:ext cx="1403428" cy="1467469"/>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Insight into relative level of security investment relative to Total IT, Employees and Revenue. </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Understanding of types of investments e.g. firewalls/anti-virus vs Vulnerability/ Analytics </a:t>
              </a:r>
            </a:p>
          </p:txBody>
        </p:sp>
      </p:grpSp>
      <p:grpSp>
        <p:nvGrpSpPr>
          <p:cNvPr id="5" name="Group 4">
            <a:extLst>
              <a:ext uri="{FF2B5EF4-FFF2-40B4-BE49-F238E27FC236}">
                <a16:creationId xmlns:a16="http://schemas.microsoft.com/office/drawing/2014/main" id="{08A15CA9-C679-6583-2893-AD301CB0E2AF}"/>
              </a:ext>
            </a:extLst>
          </p:cNvPr>
          <p:cNvGrpSpPr/>
          <p:nvPr/>
        </p:nvGrpSpPr>
        <p:grpSpPr>
          <a:xfrm>
            <a:off x="10251048" y="2139697"/>
            <a:ext cx="1504401" cy="3832371"/>
            <a:chOff x="457198" y="3518777"/>
            <a:chExt cx="1523368" cy="2469273"/>
          </a:xfrm>
        </p:grpSpPr>
        <p:sp>
          <p:nvSpPr>
            <p:cNvPr id="6" name="Rectangle 5">
              <a:extLst>
                <a:ext uri="{FF2B5EF4-FFF2-40B4-BE49-F238E27FC236}">
                  <a16:creationId xmlns:a16="http://schemas.microsoft.com/office/drawing/2014/main" id="{65505A98-495E-F8BB-317E-9B70456B877F}"/>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1513F67-B434-052E-0D52-F2241DA3A52D}"/>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002856"/>
                  </a:solidFill>
                  <a:effectLst/>
                  <a:uLnTx/>
                  <a:uFillTx/>
                  <a:latin typeface="Arial" panose="020B0604020202020204"/>
                  <a:ea typeface="+mn-ea"/>
                  <a:cs typeface="+mn-cs"/>
                </a:rPr>
                <a:t>Significance</a:t>
              </a:r>
            </a:p>
          </p:txBody>
        </p:sp>
        <p:sp>
          <p:nvSpPr>
            <p:cNvPr id="8" name="TextBox 7">
              <a:extLst>
                <a:ext uri="{FF2B5EF4-FFF2-40B4-BE49-F238E27FC236}">
                  <a16:creationId xmlns:a16="http://schemas.microsoft.com/office/drawing/2014/main" id="{5035CD1D-FEA0-08F0-F889-A187F183DBE3}"/>
                </a:ext>
              </a:extLst>
            </p:cNvPr>
            <p:cNvSpPr txBox="1"/>
            <p:nvPr/>
          </p:nvSpPr>
          <p:spPr>
            <a:xfrm>
              <a:off x="492587" y="3741969"/>
              <a:ext cx="1465463" cy="2221034"/>
            </a:xfrm>
            <a:prstGeom prst="rect">
              <a:avLst/>
            </a:prstGeom>
            <a:noFill/>
          </p:spPr>
          <p:txBody>
            <a:bodyPr wrap="square" lIns="0" rIns="0"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3A3A3A"/>
                  </a:solidFill>
                  <a:effectLst/>
                  <a:uLnTx/>
                  <a:uFillTx/>
                  <a:latin typeface="Arial" panose="020B0604020202020204"/>
                  <a:ea typeface="+mn-ea"/>
                  <a:cs typeface="+mn-cs"/>
                </a:rPr>
                <a:t>Understanding of Data &amp; Analytics investments done relative to Total IT spend</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3A3A3A"/>
                  </a:solidFill>
                  <a:effectLst/>
                  <a:uLnTx/>
                  <a:uFillTx/>
                  <a:latin typeface="Arial" panose="020B0604020202020204"/>
                  <a:ea typeface="+mn-ea"/>
                  <a:cs typeface="+mn-cs"/>
                </a:rPr>
                <a:t>Insights on software spend like DBMS, middleware, data management software, and analytics applications along with personnel and traditional outsourcing spend</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3A3A3A"/>
                  </a:solidFill>
                  <a:effectLst/>
                  <a:uLnTx/>
                  <a:uFillTx/>
                  <a:latin typeface="Arial" panose="020B0604020202020204"/>
                  <a:ea typeface="+mn-ea"/>
                  <a:cs typeface="+mn-cs"/>
                </a:rPr>
                <a:t>Benchmark data will be available after Q1</a:t>
              </a:r>
            </a:p>
          </p:txBody>
        </p:sp>
      </p:grpSp>
    </p:spTree>
    <p:extLst>
      <p:ext uri="{BB962C8B-B14F-4D97-AF65-F5344CB8AC3E}">
        <p14:creationId xmlns:p14="http://schemas.microsoft.com/office/powerpoint/2010/main" val="3485490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10EC56A-318A-9C4B-E357-40FD9BC14093}"/>
              </a:ext>
            </a:extLst>
          </p:cNvPr>
          <p:cNvGraphicFramePr>
            <a:graphicFrameLocks noChangeAspect="1"/>
          </p:cNvGraphicFramePr>
          <p:nvPr>
            <p:custDataLst>
              <p:tags r:id="rId1"/>
            </p:custDataLst>
            <p:extLst>
              <p:ext uri="{D42A27DB-BD31-4B8C-83A1-F6EECF244321}">
                <p14:modId xmlns:p14="http://schemas.microsoft.com/office/powerpoint/2010/main" val="318479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DE91E0A-6C59-6FCB-0CC0-F17AD694A795}"/>
              </a:ext>
            </a:extLst>
          </p:cNvPr>
          <p:cNvSpPr>
            <a:spLocks noGrp="1"/>
          </p:cNvSpPr>
          <p:nvPr>
            <p:ph type="title"/>
          </p:nvPr>
        </p:nvSpPr>
        <p:spPr/>
        <p:txBody>
          <a:bodyPr vert="horz"/>
          <a:lstStyle/>
          <a:p>
            <a:r>
              <a:rPr lang="en-US" dirty="0"/>
              <a:t>Recommended Journey</a:t>
            </a:r>
          </a:p>
        </p:txBody>
      </p:sp>
      <p:grpSp>
        <p:nvGrpSpPr>
          <p:cNvPr id="4" name="Group 3">
            <a:extLst>
              <a:ext uri="{FF2B5EF4-FFF2-40B4-BE49-F238E27FC236}">
                <a16:creationId xmlns:a16="http://schemas.microsoft.com/office/drawing/2014/main"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easure IT Security</a:t>
              </a:r>
            </a:p>
          </p:txBody>
        </p:sp>
        <p:sp>
          <p:nvSpPr>
            <p:cNvPr id="6" name="Rectangle: Rounded Corners 5">
              <a:extLst>
                <a:ext uri="{FF2B5EF4-FFF2-40B4-BE49-F238E27FC236}">
                  <a16:creationId xmlns:a16="http://schemas.microsoft.com/office/drawing/2014/main"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For IT Security comparisons, opt for this journey.</a:t>
              </a:r>
            </a:p>
          </p:txBody>
        </p:sp>
        <p:sp>
          <p:nvSpPr>
            <p:cNvPr id="7" name="Arrow: Right 6">
              <a:extLst>
                <a:ext uri="{FF2B5EF4-FFF2-40B4-BE49-F238E27FC236}">
                  <a16:creationId xmlns:a16="http://schemas.microsoft.com/office/drawing/2014/main"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Source and Strategic Spend &gt; IT Security</a:t>
              </a:r>
            </a:p>
          </p:txBody>
        </p:sp>
      </p:grpSp>
      <p:sp>
        <p:nvSpPr>
          <p:cNvPr id="9" name="Rectangle: Rounded Corners 8">
            <a:extLst>
              <a:ext uri="{FF2B5EF4-FFF2-40B4-BE49-F238E27FC236}">
                <a16:creationId xmlns:a16="http://schemas.microsoft.com/office/drawing/2014/main"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3" name="Group 2">
            <a:extLst>
              <a:ext uri="{FF2B5EF4-FFF2-40B4-BE49-F238E27FC236}">
                <a16:creationId xmlns:a16="http://schemas.microsoft.com/office/drawing/2014/main" id="{A74DF8CB-9DDB-CA15-315D-DA7EEC8C873C}"/>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id="{E96655D3-7945-A421-95ED-5CD88A9EA519}"/>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id="{12C00273-E9F3-F4EA-E180-072858D0290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grpSp>
        <p:nvGrpSpPr>
          <p:cNvPr id="25" name="Group 24">
            <a:extLst>
              <a:ext uri="{FF2B5EF4-FFF2-40B4-BE49-F238E27FC236}">
                <a16:creationId xmlns:a16="http://schemas.microsoft.com/office/drawing/2014/main" id="{4F686A35-2D1A-4B5C-6223-6E4C26225471}"/>
              </a:ext>
            </a:extLst>
          </p:cNvPr>
          <p:cNvGrpSpPr/>
          <p:nvPr/>
        </p:nvGrpSpPr>
        <p:grpSpPr>
          <a:xfrm>
            <a:off x="605582" y="3303646"/>
            <a:ext cx="10980836" cy="624825"/>
            <a:chOff x="572770" y="3280211"/>
            <a:chExt cx="10980836" cy="624825"/>
          </a:xfrm>
        </p:grpSpPr>
        <p:sp>
          <p:nvSpPr>
            <p:cNvPr id="26" name="Rectangle: Rounded Corners 25">
              <a:extLst>
                <a:ext uri="{FF2B5EF4-FFF2-40B4-BE49-F238E27FC236}">
                  <a16:creationId xmlns:a16="http://schemas.microsoft.com/office/drawing/2014/main" id="{6EC3231D-A3B1-CF54-A347-FA32C0D64448}"/>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27" name="Rectangle: Rounded Corners 26">
              <a:extLst>
                <a:ext uri="{FF2B5EF4-FFF2-40B4-BE49-F238E27FC236}">
                  <a16:creationId xmlns:a16="http://schemas.microsoft.com/office/drawing/2014/main" id="{8665314F-264C-37C8-8613-CE9A4D79C6BF}"/>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28" name="Rectangle: Rounded Corners 27">
              <a:extLst>
                <a:ext uri="{FF2B5EF4-FFF2-40B4-BE49-F238E27FC236}">
                  <a16:creationId xmlns:a16="http://schemas.microsoft.com/office/drawing/2014/main" id="{F8CD0A25-D38D-31D6-D997-BA72FB21DA67}"/>
                </a:ext>
              </a:extLst>
            </p:cNvPr>
            <p:cNvSpPr/>
            <p:nvPr/>
          </p:nvSpPr>
          <p:spPr>
            <a:xfrm>
              <a:off x="3731640" y="3306065"/>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29" name="Rectangle: Rounded Corners 28">
              <a:extLst>
                <a:ext uri="{FF2B5EF4-FFF2-40B4-BE49-F238E27FC236}">
                  <a16:creationId xmlns:a16="http://schemas.microsoft.com/office/drawing/2014/main" id="{77D4DDC1-2701-20B0-E9A3-0527A2A3C76F}"/>
                </a:ext>
              </a:extLst>
            </p:cNvPr>
            <p:cNvSpPr/>
            <p:nvPr/>
          </p:nvSpPr>
          <p:spPr>
            <a:xfrm>
              <a:off x="5311075" y="3282837"/>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0" name="Rectangle: Rounded Corners 29">
              <a:extLst>
                <a:ext uri="{FF2B5EF4-FFF2-40B4-BE49-F238E27FC236}">
                  <a16:creationId xmlns:a16="http://schemas.microsoft.com/office/drawing/2014/main" id="{BC4DD141-615E-CF78-6142-C2A6B6FB3164}"/>
                </a:ext>
              </a:extLst>
            </p:cNvPr>
            <p:cNvSpPr/>
            <p:nvPr/>
          </p:nvSpPr>
          <p:spPr>
            <a:xfrm>
              <a:off x="6890510"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31" name="Rectangle: Rounded Corners 30">
              <a:extLst>
                <a:ext uri="{FF2B5EF4-FFF2-40B4-BE49-F238E27FC236}">
                  <a16:creationId xmlns:a16="http://schemas.microsoft.com/office/drawing/2014/main" id="{11B8FBE8-136A-6E73-8A2E-8AC7B9A33FCB}"/>
                </a:ext>
              </a:extLst>
            </p:cNvPr>
            <p:cNvSpPr/>
            <p:nvPr/>
          </p:nvSpPr>
          <p:spPr>
            <a:xfrm>
              <a:off x="8469945" y="3280211"/>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32" name="Rectangle: Rounded Corners 31">
              <a:extLst>
                <a:ext uri="{FF2B5EF4-FFF2-40B4-BE49-F238E27FC236}">
                  <a16:creationId xmlns:a16="http://schemas.microsoft.com/office/drawing/2014/main" id="{A91E3CEE-7A6D-8F9E-8B95-C0C642F74E64}"/>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spTree>
    <p:extLst>
      <p:ext uri="{BB962C8B-B14F-4D97-AF65-F5344CB8AC3E}">
        <p14:creationId xmlns:p14="http://schemas.microsoft.com/office/powerpoint/2010/main" val="3878826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E33FE0-CBFF-4A9D-B3DD-0897D10D85B3}"/>
              </a:ext>
            </a:extLst>
          </p:cNvPr>
          <p:cNvGraphicFramePr>
            <a:graphicFrameLocks noChangeAspect="1"/>
          </p:cNvGraphicFramePr>
          <p:nvPr>
            <p:custDataLst>
              <p:tags r:id="rId1"/>
            </p:custDataLst>
            <p:extLst>
              <p:ext uri="{D42A27DB-BD31-4B8C-83A1-F6EECF244321}">
                <p14:modId xmlns:p14="http://schemas.microsoft.com/office/powerpoint/2010/main" val="332388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40E33FE0-CBFF-4A9D-B3DD-0897D10D85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AC0842-A201-4CEF-BE2E-FBEDD6ACEC8B}"/>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id="{77D2A95A-8FDC-439F-A3CB-17D64EE21095}"/>
              </a:ext>
            </a:extLst>
          </p:cNvPr>
          <p:cNvSpPr txBox="1"/>
          <p:nvPr/>
        </p:nvSpPr>
        <p:spPr>
          <a:xfrm>
            <a:off x="1341120" y="156464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1144176-2367-4A74-9B16-04DE8DC21669}"/>
              </a:ext>
            </a:extLst>
          </p:cNvPr>
          <p:cNvSpPr txBox="1"/>
          <p:nvPr/>
        </p:nvSpPr>
        <p:spPr>
          <a:xfrm>
            <a:off x="1282931" y="5604748"/>
            <a:ext cx="4734560" cy="369332"/>
          </a:xfrm>
          <a:prstGeom prst="rect">
            <a:avLst/>
          </a:prstGeom>
          <a:noFill/>
        </p:spPr>
        <p:txBody>
          <a:bodyPr wrap="square" rtlCol="0">
            <a:spAutoFit/>
          </a:bodyPr>
          <a:lstStyle/>
          <a:p>
            <a:endParaRPr lang="en-US" sz="900" dirty="0">
              <a:solidFill>
                <a:schemeClr val="tx1">
                  <a:lumMod val="50000"/>
                  <a:lumOff val="50000"/>
                </a:schemeClr>
              </a:solidFill>
              <a:latin typeface="Arial" panose="020B0604020202020204" pitchFamily="34" charset="0"/>
              <a:cs typeface="Arial" panose="020B0604020202020204" pitchFamily="34" charset="0"/>
            </a:endParaRPr>
          </a:p>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14" name="Rectangle 13">
            <a:extLst>
              <a:ext uri="{FF2B5EF4-FFF2-40B4-BE49-F238E27FC236}">
                <a16:creationId xmlns:a16="http://schemas.microsoft.com/office/drawing/2014/main" id="{ED6A1895-D917-416B-A62C-C6EF29093068}"/>
              </a:ext>
            </a:extLst>
          </p:cNvPr>
          <p:cNvSpPr/>
          <p:nvPr/>
        </p:nvSpPr>
        <p:spPr>
          <a:xfrm>
            <a:off x="1188720" y="1463040"/>
            <a:ext cx="9519920" cy="45720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E35D0CD-357B-2178-6185-A1E99C1AD9A4}"/>
              </a:ext>
            </a:extLst>
          </p:cNvPr>
          <p:cNvPicPr>
            <a:picLocks noChangeAspect="1"/>
          </p:cNvPicPr>
          <p:nvPr/>
        </p:nvPicPr>
        <p:blipFill>
          <a:blip r:embed="rId7"/>
          <a:stretch>
            <a:fillRect/>
          </a:stretch>
        </p:blipFill>
        <p:spPr>
          <a:xfrm>
            <a:off x="1341120" y="2035572"/>
            <a:ext cx="4200858" cy="1946160"/>
          </a:xfrm>
          <a:prstGeom prst="rect">
            <a:avLst/>
          </a:prstGeom>
          <a:ln>
            <a:solidFill>
              <a:schemeClr val="tx2"/>
            </a:solidFill>
          </a:ln>
        </p:spPr>
      </p:pic>
      <p:pic>
        <p:nvPicPr>
          <p:cNvPr id="15" name="Picture 14">
            <a:extLst>
              <a:ext uri="{FF2B5EF4-FFF2-40B4-BE49-F238E27FC236}">
                <a16:creationId xmlns:a16="http://schemas.microsoft.com/office/drawing/2014/main" id="{1D08BBFD-526D-A1CC-2877-A2B6D717A33E}"/>
              </a:ext>
            </a:extLst>
          </p:cNvPr>
          <p:cNvPicPr>
            <a:picLocks noChangeAspect="1"/>
          </p:cNvPicPr>
          <p:nvPr/>
        </p:nvPicPr>
        <p:blipFill>
          <a:blip r:embed="rId8"/>
          <a:stretch>
            <a:fillRect/>
          </a:stretch>
        </p:blipFill>
        <p:spPr>
          <a:xfrm>
            <a:off x="5694378" y="2029107"/>
            <a:ext cx="4695810" cy="1946160"/>
          </a:xfrm>
          <a:prstGeom prst="rect">
            <a:avLst/>
          </a:prstGeom>
          <a:ln>
            <a:solidFill>
              <a:schemeClr val="tx2"/>
            </a:solidFill>
          </a:ln>
        </p:spPr>
      </p:pic>
      <p:pic>
        <p:nvPicPr>
          <p:cNvPr id="17" name="Picture 16">
            <a:extLst>
              <a:ext uri="{FF2B5EF4-FFF2-40B4-BE49-F238E27FC236}">
                <a16:creationId xmlns:a16="http://schemas.microsoft.com/office/drawing/2014/main" id="{9E358439-BEEF-0BFB-2C41-59E3C9208736}"/>
              </a:ext>
            </a:extLst>
          </p:cNvPr>
          <p:cNvPicPr>
            <a:picLocks noChangeAspect="1"/>
          </p:cNvPicPr>
          <p:nvPr/>
        </p:nvPicPr>
        <p:blipFill>
          <a:blip r:embed="rId9"/>
          <a:stretch>
            <a:fillRect/>
          </a:stretch>
        </p:blipFill>
        <p:spPr>
          <a:xfrm>
            <a:off x="1341120" y="4092790"/>
            <a:ext cx="4200858" cy="1511958"/>
          </a:xfrm>
          <a:prstGeom prst="rect">
            <a:avLst/>
          </a:prstGeom>
          <a:ln>
            <a:solidFill>
              <a:schemeClr val="tx2"/>
            </a:solidFill>
          </a:ln>
        </p:spPr>
      </p:pic>
      <p:pic>
        <p:nvPicPr>
          <p:cNvPr id="19" name="Picture 18">
            <a:extLst>
              <a:ext uri="{FF2B5EF4-FFF2-40B4-BE49-F238E27FC236}">
                <a16:creationId xmlns:a16="http://schemas.microsoft.com/office/drawing/2014/main" id="{D64E852C-C63F-6A22-0FB3-E0D1DF4878C7}"/>
              </a:ext>
            </a:extLst>
          </p:cNvPr>
          <p:cNvPicPr>
            <a:picLocks noChangeAspect="1"/>
          </p:cNvPicPr>
          <p:nvPr/>
        </p:nvPicPr>
        <p:blipFill>
          <a:blip r:embed="rId10"/>
          <a:stretch>
            <a:fillRect/>
          </a:stretch>
        </p:blipFill>
        <p:spPr>
          <a:xfrm>
            <a:off x="5694377" y="4053895"/>
            <a:ext cx="4695809" cy="1550853"/>
          </a:xfrm>
          <a:prstGeom prst="rect">
            <a:avLst/>
          </a:prstGeom>
          <a:ln>
            <a:solidFill>
              <a:schemeClr val="tx2"/>
            </a:solidFill>
          </a:ln>
        </p:spPr>
      </p:pic>
    </p:spTree>
    <p:extLst>
      <p:ext uri="{BB962C8B-B14F-4D97-AF65-F5344CB8AC3E}">
        <p14:creationId xmlns:p14="http://schemas.microsoft.com/office/powerpoint/2010/main" val="2806352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B4D7A50F-E709-4D5B-851C-1D389FDE11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2" name="Object 61" hidden="1">
                        <a:extLst>
                          <a:ext uri="{FF2B5EF4-FFF2-40B4-BE49-F238E27FC236}">
                            <a16:creationId xmlns:a16="http://schemas.microsoft.com/office/drawing/2014/main" id="{B4D7A50F-E709-4D5B-851C-1D389FDE1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id="{9C527C89-047A-4F42-BD77-486C75D08BEA}"/>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7 through 19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7">
                  <a:extLst>
                    <a:ext uri="{A12FA001-AC4F-418D-AE19-62706E023703}">
                      <ahyp:hlinkClr xmlns:ahyp="http://schemas.microsoft.com/office/drawing/2018/hyperlinkcolor"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8"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specific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a:p>
          </p:txBody>
        </p:sp>
        <p:pic>
          <p:nvPicPr>
            <p:cNvPr id="22" name="Graphic 21">
              <a:extLst>
                <a:ext uri="{FF2B5EF4-FFF2-40B4-BE49-F238E27FC236}">
                  <a16:creationId xmlns:a16="http://schemas.microsoft.com/office/drawing/2014/main" id="{A99BF879-25A6-EAC8-ED97-C29B7A0AA2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IT Security Benchmark Participation Guide</a:t>
            </a:r>
          </a:p>
          <a:p>
            <a:pPr>
              <a:buClr>
                <a:schemeClr val="dk1"/>
              </a:buClr>
              <a:buSzPts val="2000"/>
            </a:pPr>
            <a:r>
              <a:rPr lang="en-US" sz="1200" dirty="0">
                <a:solidFill>
                  <a:srgbClr val="002856"/>
                </a:solidFill>
              </a:rPr>
              <a:t>Use this document to help you complete the IT Budget &amp; Efficiency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ADD031-D01A-0D3A-B6CE-C8CBB44CC333}"/>
              </a:ext>
            </a:extLst>
          </p:cNvPr>
          <p:cNvGraphicFramePr>
            <a:graphicFrameLocks noChangeAspect="1"/>
          </p:cNvGraphicFramePr>
          <p:nvPr>
            <p:custDataLst>
              <p:tags r:id="rId1"/>
            </p:custDataLst>
            <p:extLst>
              <p:ext uri="{D42A27DB-BD31-4B8C-83A1-F6EECF244321}">
                <p14:modId xmlns:p14="http://schemas.microsoft.com/office/powerpoint/2010/main" val="263752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56ADD031-D01A-0D3A-B6CE-C8CBB44CC3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BB66F803-C8FA-4BFB-AD8B-6393339680C6}"/>
              </a:ext>
            </a:extLst>
          </p:cNvPr>
          <p:cNvSpPr txBox="1"/>
          <p:nvPr/>
        </p:nvSpPr>
        <p:spPr>
          <a:xfrm>
            <a:off x="1879600" y="965488"/>
            <a:ext cx="3616960" cy="400110"/>
          </a:xfrm>
          <a:prstGeom prst="rect">
            <a:avLst/>
          </a:prstGeom>
          <a:noFill/>
        </p:spPr>
        <p:txBody>
          <a:bodyPr wrap="square" lIns="0" rIns="0" rtlCol="0">
            <a:spAutoFit/>
          </a:bodyPr>
          <a:lstStyle/>
          <a:p>
            <a:pPr algn="l">
              <a:spcBef>
                <a:spcPts val="600"/>
              </a:spcBef>
            </a:pPr>
            <a:r>
              <a:rPr lang="en-US" sz="2000" b="1" dirty="0">
                <a:solidFill>
                  <a:srgbClr val="009AD7"/>
                </a:solidFill>
              </a:rPr>
              <a:t>Key IT Security Metrics</a:t>
            </a:r>
          </a:p>
        </p:txBody>
      </p:sp>
      <p:sp>
        <p:nvSpPr>
          <p:cNvPr id="7" name="Rectangle 6">
            <a:extLst>
              <a:ext uri="{FF2B5EF4-FFF2-40B4-BE49-F238E27FC236}">
                <a16:creationId xmlns:a16="http://schemas.microsoft.com/office/drawing/2014/main" id="{1BA276A3-3A53-487C-858D-1D927386E51C}"/>
              </a:ext>
            </a:extLst>
          </p:cNvPr>
          <p:cNvSpPr/>
          <p:nvPr/>
        </p:nvSpPr>
        <p:spPr>
          <a:xfrm>
            <a:off x="1869440" y="1342738"/>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D97B5960-AA70-4401-BD20-D141D8516F22}"/>
              </a:ext>
            </a:extLst>
          </p:cNvPr>
          <p:cNvSpPr txBox="1"/>
          <p:nvPr/>
        </p:nvSpPr>
        <p:spPr>
          <a:xfrm>
            <a:off x="1808480" y="1457157"/>
            <a:ext cx="2184400" cy="523220"/>
          </a:xfrm>
          <a:prstGeom prst="rect">
            <a:avLst/>
          </a:prstGeom>
          <a:noFill/>
        </p:spPr>
        <p:txBody>
          <a:bodyPr wrap="square">
            <a:spAutoFit/>
          </a:bodyPr>
          <a:lstStyle/>
          <a:p>
            <a:r>
              <a:rPr lang="en-US" sz="1400" dirty="0">
                <a:solidFill>
                  <a:srgbClr val="000000"/>
                </a:solidFill>
              </a:rPr>
              <a:t>IT Security Spending as a Percent of IT Spending</a:t>
            </a:r>
          </a:p>
        </p:txBody>
      </p:sp>
      <p:sp>
        <p:nvSpPr>
          <p:cNvPr id="10" name="TextBox 9">
            <a:extLst>
              <a:ext uri="{FF2B5EF4-FFF2-40B4-BE49-F238E27FC236}">
                <a16:creationId xmlns:a16="http://schemas.microsoft.com/office/drawing/2014/main" id="{94E6A5DF-3C62-4962-9513-4D79C8D37B3D}"/>
              </a:ext>
            </a:extLst>
          </p:cNvPr>
          <p:cNvSpPr txBox="1"/>
          <p:nvPr/>
        </p:nvSpPr>
        <p:spPr>
          <a:xfrm>
            <a:off x="4026747" y="1457157"/>
            <a:ext cx="1869440" cy="523220"/>
          </a:xfrm>
          <a:prstGeom prst="rect">
            <a:avLst/>
          </a:prstGeom>
          <a:noFill/>
        </p:spPr>
        <p:txBody>
          <a:bodyPr wrap="square">
            <a:spAutoFit/>
          </a:bodyPr>
          <a:lstStyle/>
          <a:p>
            <a:r>
              <a:rPr lang="en-US" sz="1400" dirty="0">
                <a:solidFill>
                  <a:srgbClr val="000000"/>
                </a:solidFill>
              </a:rPr>
              <a:t>IT Security Spending per Employee</a:t>
            </a:r>
          </a:p>
        </p:txBody>
      </p:sp>
      <p:sp>
        <p:nvSpPr>
          <p:cNvPr id="11" name="TextBox 10">
            <a:extLst>
              <a:ext uri="{FF2B5EF4-FFF2-40B4-BE49-F238E27FC236}">
                <a16:creationId xmlns:a16="http://schemas.microsoft.com/office/drawing/2014/main" id="{DAB9A4B6-DCEB-47F0-A970-C65DC2BB7C3C}"/>
              </a:ext>
            </a:extLst>
          </p:cNvPr>
          <p:cNvSpPr txBox="1"/>
          <p:nvPr/>
        </p:nvSpPr>
        <p:spPr>
          <a:xfrm>
            <a:off x="6143414" y="1457157"/>
            <a:ext cx="1869440" cy="523220"/>
          </a:xfrm>
          <a:prstGeom prst="rect">
            <a:avLst/>
          </a:prstGeom>
          <a:noFill/>
        </p:spPr>
        <p:txBody>
          <a:bodyPr wrap="square">
            <a:spAutoFit/>
          </a:bodyPr>
          <a:lstStyle/>
          <a:p>
            <a:r>
              <a:rPr lang="en-US" sz="1400" dirty="0">
                <a:solidFill>
                  <a:srgbClr val="000000"/>
                </a:solidFill>
              </a:rPr>
              <a:t>IT Security Spending per $1K Revenue</a:t>
            </a:r>
          </a:p>
        </p:txBody>
      </p:sp>
      <p:sp>
        <p:nvSpPr>
          <p:cNvPr id="12" name="TextBox 11">
            <a:extLst>
              <a:ext uri="{FF2B5EF4-FFF2-40B4-BE49-F238E27FC236}">
                <a16:creationId xmlns:a16="http://schemas.microsoft.com/office/drawing/2014/main" id="{4A0CF262-8A13-4CE0-A4A0-B2652346DA5B}"/>
              </a:ext>
            </a:extLst>
          </p:cNvPr>
          <p:cNvSpPr txBox="1"/>
          <p:nvPr/>
        </p:nvSpPr>
        <p:spPr>
          <a:xfrm>
            <a:off x="8260080" y="1457157"/>
            <a:ext cx="1869440" cy="523220"/>
          </a:xfrm>
          <a:prstGeom prst="rect">
            <a:avLst/>
          </a:prstGeom>
          <a:noFill/>
        </p:spPr>
        <p:txBody>
          <a:bodyPr wrap="square">
            <a:spAutoFit/>
          </a:bodyPr>
          <a:lstStyle/>
          <a:p>
            <a:r>
              <a:rPr lang="en-US" sz="1400" dirty="0">
                <a:solidFill>
                  <a:srgbClr val="000000"/>
                </a:solidFill>
              </a:rPr>
              <a:t>IT Security Staff as a % of IT Staff</a:t>
            </a:r>
          </a:p>
        </p:txBody>
      </p:sp>
      <p:sp>
        <p:nvSpPr>
          <p:cNvPr id="13" name="TextBox 12">
            <a:extLst>
              <a:ext uri="{FF2B5EF4-FFF2-40B4-BE49-F238E27FC236}">
                <a16:creationId xmlns:a16="http://schemas.microsoft.com/office/drawing/2014/main" id="{B1E4B5C1-8239-4338-AE29-4ADF7563F6F6}"/>
              </a:ext>
            </a:extLst>
          </p:cNvPr>
          <p:cNvSpPr txBox="1"/>
          <p:nvPr/>
        </p:nvSpPr>
        <p:spPr>
          <a:xfrm>
            <a:off x="1788160" y="2249637"/>
            <a:ext cx="8473440" cy="400110"/>
          </a:xfrm>
          <a:prstGeom prst="rect">
            <a:avLst/>
          </a:prstGeom>
          <a:noFill/>
        </p:spPr>
        <p:txBody>
          <a:bodyPr wrap="square">
            <a:spAutoFit/>
          </a:bodyPr>
          <a:lstStyle/>
          <a:p>
            <a:r>
              <a:rPr lang="en-US" sz="2000" b="1" dirty="0">
                <a:solidFill>
                  <a:srgbClr val="009AD7"/>
                </a:solidFill>
              </a:rPr>
              <a:t>Distribution by Operation (IT Security Spending &amp; Staffing)</a:t>
            </a:r>
          </a:p>
        </p:txBody>
      </p:sp>
      <p:sp>
        <p:nvSpPr>
          <p:cNvPr id="14" name="Rectangle 13">
            <a:extLst>
              <a:ext uri="{FF2B5EF4-FFF2-40B4-BE49-F238E27FC236}">
                <a16:creationId xmlns:a16="http://schemas.microsoft.com/office/drawing/2014/main" id="{BBB04088-6DBD-4DEF-BC96-06A2F2C539F4}"/>
              </a:ext>
            </a:extLst>
          </p:cNvPr>
          <p:cNvSpPr/>
          <p:nvPr/>
        </p:nvSpPr>
        <p:spPr>
          <a:xfrm>
            <a:off x="1879600" y="2622898"/>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85555A20-4841-4DBD-A5F0-13C5E01CF327}"/>
              </a:ext>
            </a:extLst>
          </p:cNvPr>
          <p:cNvSpPr txBox="1"/>
          <p:nvPr/>
        </p:nvSpPr>
        <p:spPr>
          <a:xfrm>
            <a:off x="1788160" y="2777957"/>
            <a:ext cx="2184400" cy="523220"/>
          </a:xfrm>
          <a:prstGeom prst="rect">
            <a:avLst/>
          </a:prstGeom>
          <a:noFill/>
        </p:spPr>
        <p:txBody>
          <a:bodyPr wrap="square">
            <a:spAutoFit/>
          </a:bodyPr>
          <a:lstStyle/>
          <a:p>
            <a:r>
              <a:rPr lang="en-US" sz="1400" dirty="0">
                <a:solidFill>
                  <a:srgbClr val="000000"/>
                </a:solidFill>
              </a:rPr>
              <a:t>Operational infrastructure security</a:t>
            </a:r>
          </a:p>
        </p:txBody>
      </p:sp>
      <p:sp>
        <p:nvSpPr>
          <p:cNvPr id="16" name="TextBox 15">
            <a:extLst>
              <a:ext uri="{FF2B5EF4-FFF2-40B4-BE49-F238E27FC236}">
                <a16:creationId xmlns:a16="http://schemas.microsoft.com/office/drawing/2014/main" id="{A22E421A-B695-4822-84EB-B0B09CD2236A}"/>
              </a:ext>
            </a:extLst>
          </p:cNvPr>
          <p:cNvSpPr txBox="1"/>
          <p:nvPr/>
        </p:nvSpPr>
        <p:spPr>
          <a:xfrm>
            <a:off x="4003040" y="2788117"/>
            <a:ext cx="2245360" cy="523220"/>
          </a:xfrm>
          <a:prstGeom prst="rect">
            <a:avLst/>
          </a:prstGeom>
          <a:noFill/>
        </p:spPr>
        <p:txBody>
          <a:bodyPr wrap="square">
            <a:spAutoFit/>
          </a:bodyPr>
          <a:lstStyle/>
          <a:p>
            <a:r>
              <a:rPr lang="en-US" sz="1400" dirty="0">
                <a:solidFill>
                  <a:srgbClr val="000000"/>
                </a:solidFill>
              </a:rPr>
              <a:t>Vulnerability management and security analytics</a:t>
            </a:r>
          </a:p>
        </p:txBody>
      </p:sp>
      <p:sp>
        <p:nvSpPr>
          <p:cNvPr id="17" name="TextBox 16">
            <a:extLst>
              <a:ext uri="{FF2B5EF4-FFF2-40B4-BE49-F238E27FC236}">
                <a16:creationId xmlns:a16="http://schemas.microsoft.com/office/drawing/2014/main" id="{B9A81650-9A1E-4A95-AEFE-627BC4588988}"/>
              </a:ext>
            </a:extLst>
          </p:cNvPr>
          <p:cNvSpPr txBox="1"/>
          <p:nvPr/>
        </p:nvSpPr>
        <p:spPr>
          <a:xfrm>
            <a:off x="6177280" y="2788117"/>
            <a:ext cx="2184400" cy="307777"/>
          </a:xfrm>
          <a:prstGeom prst="rect">
            <a:avLst/>
          </a:prstGeom>
          <a:noFill/>
        </p:spPr>
        <p:txBody>
          <a:bodyPr wrap="square">
            <a:spAutoFit/>
          </a:bodyPr>
          <a:lstStyle/>
          <a:p>
            <a:r>
              <a:rPr lang="en-US" sz="1400" dirty="0">
                <a:solidFill>
                  <a:srgbClr val="000000"/>
                </a:solidFill>
              </a:rPr>
              <a:t>Application security</a:t>
            </a:r>
          </a:p>
        </p:txBody>
      </p:sp>
      <p:sp>
        <p:nvSpPr>
          <p:cNvPr id="18" name="TextBox 17">
            <a:extLst>
              <a:ext uri="{FF2B5EF4-FFF2-40B4-BE49-F238E27FC236}">
                <a16:creationId xmlns:a16="http://schemas.microsoft.com/office/drawing/2014/main" id="{AB541F0E-B79C-4BFB-8967-457C0C5C51EC}"/>
              </a:ext>
            </a:extLst>
          </p:cNvPr>
          <p:cNvSpPr txBox="1"/>
          <p:nvPr/>
        </p:nvSpPr>
        <p:spPr>
          <a:xfrm>
            <a:off x="8310880" y="2788117"/>
            <a:ext cx="2184400" cy="523220"/>
          </a:xfrm>
          <a:prstGeom prst="rect">
            <a:avLst/>
          </a:prstGeom>
          <a:noFill/>
        </p:spPr>
        <p:txBody>
          <a:bodyPr wrap="square">
            <a:spAutoFit/>
          </a:bodyPr>
          <a:lstStyle/>
          <a:p>
            <a:r>
              <a:rPr lang="en-US" sz="1400" dirty="0">
                <a:solidFill>
                  <a:srgbClr val="000000"/>
                </a:solidFill>
              </a:rPr>
              <a:t>Governance, risk, and compliance management</a:t>
            </a:r>
          </a:p>
        </p:txBody>
      </p:sp>
      <p:sp>
        <p:nvSpPr>
          <p:cNvPr id="19" name="TextBox 18">
            <a:extLst>
              <a:ext uri="{FF2B5EF4-FFF2-40B4-BE49-F238E27FC236}">
                <a16:creationId xmlns:a16="http://schemas.microsoft.com/office/drawing/2014/main" id="{CEC9EEDD-142E-4D38-975E-E577CA453135}"/>
              </a:ext>
            </a:extLst>
          </p:cNvPr>
          <p:cNvSpPr txBox="1"/>
          <p:nvPr/>
        </p:nvSpPr>
        <p:spPr>
          <a:xfrm>
            <a:off x="1788160" y="3590757"/>
            <a:ext cx="8656320" cy="400110"/>
          </a:xfrm>
          <a:prstGeom prst="rect">
            <a:avLst/>
          </a:prstGeom>
          <a:noFill/>
        </p:spPr>
        <p:txBody>
          <a:bodyPr wrap="square">
            <a:spAutoFit/>
          </a:bodyPr>
          <a:lstStyle/>
          <a:p>
            <a:r>
              <a:rPr lang="en-US" sz="2000" b="1" dirty="0">
                <a:solidFill>
                  <a:srgbClr val="009AD7"/>
                </a:solidFill>
              </a:rPr>
              <a:t>Distribution by Task (Operational Infra. Security Spending &amp; Staffing)</a:t>
            </a:r>
          </a:p>
        </p:txBody>
      </p:sp>
      <p:sp>
        <p:nvSpPr>
          <p:cNvPr id="20" name="Rectangle 19">
            <a:extLst>
              <a:ext uri="{FF2B5EF4-FFF2-40B4-BE49-F238E27FC236}">
                <a16:creationId xmlns:a16="http://schemas.microsoft.com/office/drawing/2014/main" id="{2C5827B6-119E-4DF2-820E-9B2E3EC6AF36}"/>
              </a:ext>
            </a:extLst>
          </p:cNvPr>
          <p:cNvSpPr/>
          <p:nvPr/>
        </p:nvSpPr>
        <p:spPr>
          <a:xfrm>
            <a:off x="1879600" y="3964018"/>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144FB9F6-97FD-4B20-816E-0C3E068E73EF}"/>
              </a:ext>
            </a:extLst>
          </p:cNvPr>
          <p:cNvSpPr txBox="1"/>
          <p:nvPr/>
        </p:nvSpPr>
        <p:spPr>
          <a:xfrm>
            <a:off x="1879600" y="4119077"/>
            <a:ext cx="2184400" cy="307777"/>
          </a:xfrm>
          <a:prstGeom prst="rect">
            <a:avLst/>
          </a:prstGeom>
          <a:noFill/>
        </p:spPr>
        <p:txBody>
          <a:bodyPr wrap="square">
            <a:spAutoFit/>
          </a:bodyPr>
          <a:lstStyle/>
          <a:p>
            <a:r>
              <a:rPr lang="en-US" sz="1400" dirty="0">
                <a:solidFill>
                  <a:srgbClr val="000000"/>
                </a:solidFill>
              </a:rPr>
              <a:t>Identity/Access Mgmt.</a:t>
            </a:r>
          </a:p>
        </p:txBody>
      </p:sp>
      <p:sp>
        <p:nvSpPr>
          <p:cNvPr id="22" name="TextBox 21">
            <a:extLst>
              <a:ext uri="{FF2B5EF4-FFF2-40B4-BE49-F238E27FC236}">
                <a16:creationId xmlns:a16="http://schemas.microsoft.com/office/drawing/2014/main" id="{F0B5B359-CD89-40A6-ADFC-ADEA22A82CD8}"/>
              </a:ext>
            </a:extLst>
          </p:cNvPr>
          <p:cNvSpPr txBox="1"/>
          <p:nvPr/>
        </p:nvSpPr>
        <p:spPr>
          <a:xfrm>
            <a:off x="4094480" y="4129237"/>
            <a:ext cx="2072640" cy="307777"/>
          </a:xfrm>
          <a:prstGeom prst="rect">
            <a:avLst/>
          </a:prstGeom>
          <a:noFill/>
        </p:spPr>
        <p:txBody>
          <a:bodyPr wrap="square">
            <a:spAutoFit/>
          </a:bodyPr>
          <a:lstStyle/>
          <a:p>
            <a:r>
              <a:rPr lang="en-US" sz="1400" dirty="0">
                <a:solidFill>
                  <a:srgbClr val="000000"/>
                </a:solidFill>
              </a:rPr>
              <a:t>Network security</a:t>
            </a:r>
          </a:p>
        </p:txBody>
      </p:sp>
      <p:sp>
        <p:nvSpPr>
          <p:cNvPr id="23" name="TextBox 22">
            <a:extLst>
              <a:ext uri="{FF2B5EF4-FFF2-40B4-BE49-F238E27FC236}">
                <a16:creationId xmlns:a16="http://schemas.microsoft.com/office/drawing/2014/main" id="{984A5650-0A66-45FF-8E4F-581285EB16D3}"/>
              </a:ext>
            </a:extLst>
          </p:cNvPr>
          <p:cNvSpPr txBox="1"/>
          <p:nvPr/>
        </p:nvSpPr>
        <p:spPr>
          <a:xfrm>
            <a:off x="6268720" y="4129237"/>
            <a:ext cx="2184400" cy="307777"/>
          </a:xfrm>
          <a:prstGeom prst="rect">
            <a:avLst/>
          </a:prstGeom>
          <a:noFill/>
        </p:spPr>
        <p:txBody>
          <a:bodyPr wrap="square">
            <a:spAutoFit/>
          </a:bodyPr>
          <a:lstStyle/>
          <a:p>
            <a:r>
              <a:rPr lang="en-US" sz="1400" dirty="0">
                <a:solidFill>
                  <a:srgbClr val="000000"/>
                </a:solidFill>
              </a:rPr>
              <a:t>End Point security</a:t>
            </a:r>
          </a:p>
        </p:txBody>
      </p:sp>
      <p:sp>
        <p:nvSpPr>
          <p:cNvPr id="24" name="TextBox 23">
            <a:extLst>
              <a:ext uri="{FF2B5EF4-FFF2-40B4-BE49-F238E27FC236}">
                <a16:creationId xmlns:a16="http://schemas.microsoft.com/office/drawing/2014/main" id="{70286FD7-CAEF-4B0F-BA2B-3F08355DD953}"/>
              </a:ext>
            </a:extLst>
          </p:cNvPr>
          <p:cNvSpPr txBox="1"/>
          <p:nvPr/>
        </p:nvSpPr>
        <p:spPr>
          <a:xfrm>
            <a:off x="8402320" y="4129237"/>
            <a:ext cx="2184400" cy="307777"/>
          </a:xfrm>
          <a:prstGeom prst="rect">
            <a:avLst/>
          </a:prstGeom>
          <a:noFill/>
        </p:spPr>
        <p:txBody>
          <a:bodyPr wrap="square">
            <a:spAutoFit/>
          </a:bodyPr>
          <a:lstStyle/>
          <a:p>
            <a:r>
              <a:rPr lang="en-US" sz="1400" dirty="0">
                <a:solidFill>
                  <a:srgbClr val="000000"/>
                </a:solidFill>
              </a:rPr>
              <a:t>Data Security</a:t>
            </a:r>
          </a:p>
        </p:txBody>
      </p:sp>
      <p:sp>
        <p:nvSpPr>
          <p:cNvPr id="25" name="TextBox 24">
            <a:extLst>
              <a:ext uri="{FF2B5EF4-FFF2-40B4-BE49-F238E27FC236}">
                <a16:creationId xmlns:a16="http://schemas.microsoft.com/office/drawing/2014/main" id="{070B8684-C1DF-4BDD-A4C9-7A762B1B5DF8}"/>
              </a:ext>
            </a:extLst>
          </p:cNvPr>
          <p:cNvSpPr txBox="1"/>
          <p:nvPr/>
        </p:nvSpPr>
        <p:spPr>
          <a:xfrm>
            <a:off x="1767840" y="4657557"/>
            <a:ext cx="8656320" cy="400110"/>
          </a:xfrm>
          <a:prstGeom prst="rect">
            <a:avLst/>
          </a:prstGeom>
          <a:noFill/>
        </p:spPr>
        <p:txBody>
          <a:bodyPr wrap="square">
            <a:spAutoFit/>
          </a:bodyPr>
          <a:lstStyle/>
          <a:p>
            <a:r>
              <a:rPr lang="en-US" sz="2000" b="1" dirty="0">
                <a:solidFill>
                  <a:srgbClr val="009AD7"/>
                </a:solidFill>
              </a:rPr>
              <a:t>Distribution by Asset (IT Security Spending)</a:t>
            </a:r>
          </a:p>
        </p:txBody>
      </p:sp>
      <p:sp>
        <p:nvSpPr>
          <p:cNvPr id="26" name="Rectangle 25">
            <a:extLst>
              <a:ext uri="{FF2B5EF4-FFF2-40B4-BE49-F238E27FC236}">
                <a16:creationId xmlns:a16="http://schemas.microsoft.com/office/drawing/2014/main" id="{F82DBA65-B616-473C-A06E-565F93BD5729}"/>
              </a:ext>
            </a:extLst>
          </p:cNvPr>
          <p:cNvSpPr/>
          <p:nvPr/>
        </p:nvSpPr>
        <p:spPr>
          <a:xfrm>
            <a:off x="1869440" y="5030818"/>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id="{7C358D61-C598-441B-9AD8-3878C18D0875}"/>
              </a:ext>
            </a:extLst>
          </p:cNvPr>
          <p:cNvSpPr txBox="1"/>
          <p:nvPr/>
        </p:nvSpPr>
        <p:spPr>
          <a:xfrm>
            <a:off x="1859280" y="5185877"/>
            <a:ext cx="2184400" cy="307777"/>
          </a:xfrm>
          <a:prstGeom prst="rect">
            <a:avLst/>
          </a:prstGeom>
          <a:noFill/>
        </p:spPr>
        <p:txBody>
          <a:bodyPr wrap="square">
            <a:spAutoFit/>
          </a:bodyPr>
          <a:lstStyle/>
          <a:p>
            <a:r>
              <a:rPr lang="en-US" sz="1400" dirty="0">
                <a:solidFill>
                  <a:srgbClr val="000000"/>
                </a:solidFill>
              </a:rPr>
              <a:t>Personnel</a:t>
            </a:r>
          </a:p>
        </p:txBody>
      </p:sp>
      <p:sp>
        <p:nvSpPr>
          <p:cNvPr id="28" name="TextBox 27">
            <a:extLst>
              <a:ext uri="{FF2B5EF4-FFF2-40B4-BE49-F238E27FC236}">
                <a16:creationId xmlns:a16="http://schemas.microsoft.com/office/drawing/2014/main" id="{ACA3F231-147D-4096-A7A1-1B601C3E612C}"/>
              </a:ext>
            </a:extLst>
          </p:cNvPr>
          <p:cNvSpPr txBox="1"/>
          <p:nvPr/>
        </p:nvSpPr>
        <p:spPr>
          <a:xfrm>
            <a:off x="4074160" y="5196037"/>
            <a:ext cx="2072640" cy="307777"/>
          </a:xfrm>
          <a:prstGeom prst="rect">
            <a:avLst/>
          </a:prstGeom>
          <a:noFill/>
        </p:spPr>
        <p:txBody>
          <a:bodyPr wrap="square">
            <a:spAutoFit/>
          </a:bodyPr>
          <a:lstStyle/>
          <a:p>
            <a:r>
              <a:rPr lang="en-US" sz="1400" dirty="0">
                <a:solidFill>
                  <a:srgbClr val="000000"/>
                </a:solidFill>
              </a:rPr>
              <a:t>Hardware</a:t>
            </a:r>
          </a:p>
        </p:txBody>
      </p:sp>
      <p:sp>
        <p:nvSpPr>
          <p:cNvPr id="29" name="TextBox 28">
            <a:extLst>
              <a:ext uri="{FF2B5EF4-FFF2-40B4-BE49-F238E27FC236}">
                <a16:creationId xmlns:a16="http://schemas.microsoft.com/office/drawing/2014/main" id="{C8B0ABB1-2A7A-4365-B5B0-141DCE7BB57B}"/>
              </a:ext>
            </a:extLst>
          </p:cNvPr>
          <p:cNvSpPr txBox="1"/>
          <p:nvPr/>
        </p:nvSpPr>
        <p:spPr>
          <a:xfrm>
            <a:off x="6248400" y="5196037"/>
            <a:ext cx="2184400" cy="307777"/>
          </a:xfrm>
          <a:prstGeom prst="rect">
            <a:avLst/>
          </a:prstGeom>
          <a:noFill/>
        </p:spPr>
        <p:txBody>
          <a:bodyPr wrap="square">
            <a:spAutoFit/>
          </a:bodyPr>
          <a:lstStyle/>
          <a:p>
            <a:r>
              <a:rPr lang="en-US" sz="1400" dirty="0">
                <a:solidFill>
                  <a:srgbClr val="000000"/>
                </a:solidFill>
              </a:rPr>
              <a:t>Software</a:t>
            </a:r>
          </a:p>
        </p:txBody>
      </p:sp>
      <p:sp>
        <p:nvSpPr>
          <p:cNvPr id="30" name="TextBox 29">
            <a:extLst>
              <a:ext uri="{FF2B5EF4-FFF2-40B4-BE49-F238E27FC236}">
                <a16:creationId xmlns:a16="http://schemas.microsoft.com/office/drawing/2014/main" id="{0C4AD7A2-C7EC-477D-9160-1ECF33B20473}"/>
              </a:ext>
            </a:extLst>
          </p:cNvPr>
          <p:cNvSpPr txBox="1"/>
          <p:nvPr/>
        </p:nvSpPr>
        <p:spPr>
          <a:xfrm>
            <a:off x="8382000" y="5196037"/>
            <a:ext cx="2184400" cy="307777"/>
          </a:xfrm>
          <a:prstGeom prst="rect">
            <a:avLst/>
          </a:prstGeom>
          <a:noFill/>
        </p:spPr>
        <p:txBody>
          <a:bodyPr wrap="square">
            <a:spAutoFit/>
          </a:bodyPr>
          <a:lstStyle/>
          <a:p>
            <a:r>
              <a:rPr lang="en-US" sz="1400" dirty="0">
                <a:solidFill>
                  <a:srgbClr val="000000"/>
                </a:solidFill>
              </a:rPr>
              <a:t>External Services</a:t>
            </a:r>
          </a:p>
        </p:txBody>
      </p:sp>
      <p:sp>
        <p:nvSpPr>
          <p:cNvPr id="31" name="TextBox 30">
            <a:extLst>
              <a:ext uri="{FF2B5EF4-FFF2-40B4-BE49-F238E27FC236}">
                <a16:creationId xmlns:a16="http://schemas.microsoft.com/office/drawing/2014/main" id="{8B82A00C-6D95-41ED-8D1E-6C783D64DC70}"/>
              </a:ext>
            </a:extLst>
          </p:cNvPr>
          <p:cNvSpPr txBox="1"/>
          <p:nvPr/>
        </p:nvSpPr>
        <p:spPr>
          <a:xfrm>
            <a:off x="1778000" y="5578823"/>
            <a:ext cx="473456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32" name="Rectangle 31">
            <a:extLst>
              <a:ext uri="{FF2B5EF4-FFF2-40B4-BE49-F238E27FC236}">
                <a16:creationId xmlns:a16="http://schemas.microsoft.com/office/drawing/2014/main" id="{B1FD4122-9529-47AD-9013-FEADE32A1B0B}"/>
              </a:ext>
            </a:extLst>
          </p:cNvPr>
          <p:cNvSpPr/>
          <p:nvPr/>
        </p:nvSpPr>
        <p:spPr>
          <a:xfrm>
            <a:off x="1788160" y="966183"/>
            <a:ext cx="8737600" cy="4978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1953DA-2876-4F7F-CB1B-91290C5BC8A1}"/>
              </a:ext>
            </a:extLst>
          </p:cNvPr>
          <p:cNvSpPr>
            <a:spLocks noGrp="1"/>
          </p:cNvSpPr>
          <p:nvPr>
            <p:ph type="title"/>
          </p:nvPr>
        </p:nvSpPr>
        <p:spPr>
          <a:xfrm>
            <a:off x="457200" y="366713"/>
            <a:ext cx="11276013" cy="443198"/>
          </a:xfrm>
        </p:spPr>
        <p:txBody>
          <a:bodyPr vert="horz"/>
          <a:lstStyle/>
          <a:p>
            <a:r>
              <a:rPr lang="en-US" dirty="0"/>
              <a:t>Key KPIs Covered</a:t>
            </a:r>
          </a:p>
        </p:txBody>
      </p:sp>
    </p:spTree>
    <p:extLst>
      <p:ext uri="{BB962C8B-B14F-4D97-AF65-F5344CB8AC3E}">
        <p14:creationId xmlns:p14="http://schemas.microsoft.com/office/powerpoint/2010/main" val="612073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F9AF3-2288-4E65-8EDB-D6EEE724844E}"/>
              </a:ext>
            </a:extLst>
          </p:cNvPr>
          <p:cNvGraphicFramePr>
            <a:graphicFrameLocks noChangeAspect="1"/>
          </p:cNvGraphicFramePr>
          <p:nvPr>
            <p:custDataLst>
              <p:tags r:id="rId1"/>
            </p:custDataLst>
            <p:extLst>
              <p:ext uri="{D42A27DB-BD31-4B8C-83A1-F6EECF244321}">
                <p14:modId xmlns:p14="http://schemas.microsoft.com/office/powerpoint/2010/main" val="1322607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F7F9AF3-2288-4E65-8EDB-D6EEE72484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E82BB8-DDB0-4E2A-9778-3E811D00D02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7"/>
              </a:rPr>
              <a:t>IT Budget &amp; Efficiency Benchmark Application</a:t>
            </a:r>
            <a:endParaRPr lang="en-IN" sz="1600" dirty="0"/>
          </a:p>
        </p:txBody>
      </p:sp>
      <p:sp>
        <p:nvSpPr>
          <p:cNvPr id="7" name="Freeform 12">
            <a:extLst>
              <a:ext uri="{FF2B5EF4-FFF2-40B4-BE49-F238E27FC236}">
                <a16:creationId xmlns:a16="http://schemas.microsoft.com/office/drawing/2014/main"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8" name="TextBox 7">
            <a:extLst>
              <a:ext uri="{FF2B5EF4-FFF2-40B4-BE49-F238E27FC236}">
                <a16:creationId xmlns:a16="http://schemas.microsoft.com/office/drawing/2014/main"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a:t>1</a:t>
            </a:r>
          </a:p>
        </p:txBody>
      </p:sp>
      <p:sp>
        <p:nvSpPr>
          <p:cNvPr id="11" name="Freeform 12">
            <a:extLst>
              <a:ext uri="{FF2B5EF4-FFF2-40B4-BE49-F238E27FC236}">
                <a16:creationId xmlns:a16="http://schemas.microsoft.com/office/drawing/2014/main"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2" name="TextBox 11">
            <a:extLst>
              <a:ext uri="{FF2B5EF4-FFF2-40B4-BE49-F238E27FC236}">
                <a16:creationId xmlns:a16="http://schemas.microsoft.com/office/drawing/2014/main"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a:t>2</a:t>
            </a:r>
          </a:p>
        </p:txBody>
      </p:sp>
      <p:sp>
        <p:nvSpPr>
          <p:cNvPr id="18" name="Graphic 20">
            <a:extLst>
              <a:ext uri="{FF2B5EF4-FFF2-40B4-BE49-F238E27FC236}">
                <a16:creationId xmlns:a16="http://schemas.microsoft.com/office/drawing/2014/main"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IT Key Metrics Data 2024: IT Security Measures — Framework Definitions</a:t>
            </a:r>
            <a:endParaRPr lang="en-IN" sz="1600" dirty="0"/>
          </a:p>
        </p:txBody>
      </p:sp>
      <p:grpSp>
        <p:nvGrpSpPr>
          <p:cNvPr id="9" name="Group 8">
            <a:extLst>
              <a:ext uri="{FF2B5EF4-FFF2-40B4-BE49-F238E27FC236}">
                <a16:creationId xmlns:a16="http://schemas.microsoft.com/office/drawing/2014/main" id="{154E6938-E065-100D-7818-E7435FCD2B86}"/>
              </a:ext>
            </a:extLst>
          </p:cNvPr>
          <p:cNvGrpSpPr/>
          <p:nvPr/>
        </p:nvGrpSpPr>
        <p:grpSpPr>
          <a:xfrm>
            <a:off x="538455" y="4127627"/>
            <a:ext cx="11211839" cy="1778915"/>
            <a:chOff x="538455" y="3295523"/>
            <a:chExt cx="11211839" cy="1778915"/>
          </a:xfrm>
        </p:grpSpPr>
        <p:sp>
          <p:nvSpPr>
            <p:cNvPr id="16" name="TextBox 15">
              <a:extLst>
                <a:ext uri="{FF2B5EF4-FFF2-40B4-BE49-F238E27FC236}">
                  <a16:creationId xmlns:a16="http://schemas.microsoft.com/office/drawing/2014/main"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a:t>3</a:t>
              </a:r>
            </a:p>
          </p:txBody>
        </p:sp>
        <p:grpSp>
          <p:nvGrpSpPr>
            <p:cNvPr id="6" name="Group 5">
              <a:extLst>
                <a:ext uri="{FF2B5EF4-FFF2-40B4-BE49-F238E27FC236}">
                  <a16:creationId xmlns:a16="http://schemas.microsoft.com/office/drawing/2014/main"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9" name="Freeform 12">
                <a:extLst>
                  <a:ext uri="{FF2B5EF4-FFF2-40B4-BE49-F238E27FC236}">
                    <a16:creationId xmlns:a16="http://schemas.microsoft.com/office/drawing/2014/main"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20" name="TextBox 19">
                <a:extLst>
                  <a:ext uri="{FF2B5EF4-FFF2-40B4-BE49-F238E27FC236}">
                    <a16:creationId xmlns:a16="http://schemas.microsoft.com/office/drawing/2014/main"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a:t>4</a:t>
                </a:r>
              </a:p>
            </p:txBody>
          </p:sp>
          <p:sp>
            <p:nvSpPr>
              <p:cNvPr id="21" name="Graphic 20">
                <a:extLst>
                  <a:ext uri="{FF2B5EF4-FFF2-40B4-BE49-F238E27FC236}">
                    <a16:creationId xmlns:a16="http://schemas.microsoft.com/office/drawing/2014/main"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4: IT Security Measures — Analysis</a:t>
                </a:r>
                <a:endParaRPr lang="en-IN" sz="1600" dirty="0"/>
              </a:p>
            </p:txBody>
          </p:sp>
          <p:sp>
            <p:nvSpPr>
              <p:cNvPr id="26" name="Graphic 20">
                <a:extLst>
                  <a:ext uri="{FF2B5EF4-FFF2-40B4-BE49-F238E27FC236}">
                    <a16:creationId xmlns:a16="http://schemas.microsoft.com/office/drawing/2014/main"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4: Definition of Industries</a:t>
                </a:r>
                <a:endParaRPr lang="en-IN" sz="1600" dirty="0"/>
              </a:p>
            </p:txBody>
          </p:sp>
        </p:grpSp>
      </p:grpSp>
      <p:sp>
        <p:nvSpPr>
          <p:cNvPr id="10" name="Title 1">
            <a:extLst>
              <a:ext uri="{FF2B5EF4-FFF2-40B4-BE49-F238E27FC236}">
                <a16:creationId xmlns:a16="http://schemas.microsoft.com/office/drawing/2014/main" id="{D07E80D1-1203-E231-EDB3-094D6A803B8D}"/>
              </a:ext>
            </a:extLst>
          </p:cNvPr>
          <p:cNvSpPr txBox="1">
            <a:spLocks/>
          </p:cNvSpPr>
          <p:nvPr/>
        </p:nvSpPr>
        <p:spPr bwMode="gray">
          <a:xfrm>
            <a:off x="457200" y="3609091"/>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id="{FB42D43B-E528-418C-BA74-F4CC2053A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7" name="Object 16" hidden="1">
                        <a:extLst>
                          <a:ext uri="{FF2B5EF4-FFF2-40B4-BE49-F238E27FC236}">
                            <a16:creationId xmlns:a16="http://schemas.microsoft.com/office/drawing/2014/main" id="{FB42D43B-E528-418C-BA74-F4CC2053A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1F1030E2-CD96-4B29-B8E1-00E1CF89C00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EFE1C03-05FE-4A13-A7D9-407083CA6F5C}"/>
              </a:ext>
            </a:extLst>
          </p:cNvPr>
          <p:cNvSpPr>
            <a:spLocks noGrp="1"/>
          </p:cNvSpPr>
          <p:nvPr>
            <p:ph type="title"/>
          </p:nvPr>
        </p:nvSpPr>
        <p:spPr bwMode="gray"/>
        <p:txBody>
          <a:bodyPr vert="horz"/>
          <a:lstStyle/>
          <a:p>
            <a:r>
              <a:rPr lang="en-US" dirty="0"/>
              <a:t>IT Budget &amp; Efficiency Tool comprises Enterprise IT budget and IT Security Benchmarking Tool</a:t>
            </a:r>
            <a:endParaRPr lang="en-GB" dirty="0"/>
          </a:p>
        </p:txBody>
      </p:sp>
      <p:sp>
        <p:nvSpPr>
          <p:cNvPr id="4" name="Oval 3">
            <a:extLst>
              <a:ext uri="{FF2B5EF4-FFF2-40B4-BE49-F238E27FC236}">
                <a16:creationId xmlns:a16="http://schemas.microsoft.com/office/drawing/2014/main"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id="{20CD0E91-B616-4C15-969C-1C199E3601F5}"/>
              </a:ext>
            </a:extLst>
          </p:cNvPr>
          <p:cNvSpPr txBox="1"/>
          <p:nvPr/>
        </p:nvSpPr>
        <p:spPr bwMode="gray">
          <a:xfrm>
            <a:off x="5041087" y="2911179"/>
            <a:ext cx="2094270" cy="615553"/>
          </a:xfrm>
          <a:prstGeom prst="rect">
            <a:avLst/>
          </a:prstGeom>
          <a:noFill/>
        </p:spPr>
        <p:txBody>
          <a:bodyPr wrap="square" lIns="0" tIns="0" rIns="0" bIns="0" rtlCol="0">
            <a:spAutoFit/>
          </a:bodyPr>
          <a:lstStyle/>
          <a:p>
            <a:pPr algn="ctr"/>
            <a:r>
              <a:rPr lang="en-US" sz="2000" dirty="0">
                <a:solidFill>
                  <a:srgbClr val="002856"/>
                </a:solidFill>
                <a:latin typeface="+mj-lt"/>
                <a:hlinkClick r:id="rId7"/>
              </a:rPr>
              <a:t>IT Budget &amp; Efficiency Tool</a:t>
            </a:r>
            <a:endParaRPr lang="en-GB" sz="2000" dirty="0">
              <a:solidFill>
                <a:srgbClr val="002856"/>
              </a:solidFill>
              <a:latin typeface="+mj-lt"/>
            </a:endParaRPr>
          </a:p>
        </p:txBody>
      </p:sp>
      <p:sp>
        <p:nvSpPr>
          <p:cNvPr id="20" name="Rectangle 19">
            <a:extLst>
              <a:ext uri="{FF2B5EF4-FFF2-40B4-BE49-F238E27FC236}">
                <a16:creationId xmlns:a16="http://schemas.microsoft.com/office/drawing/2014/main"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IT Enterprise</a:t>
            </a:r>
          </a:p>
          <a:p>
            <a:r>
              <a:rPr lang="en-US" sz="1200" dirty="0">
                <a:solidFill>
                  <a:srgbClr val="000000"/>
                </a:solidFill>
              </a:rPr>
              <a:t>The IT Budget &amp; Efficiency tool provides CIOs and their teams with self-assessment tools to benchmark their organization vs. published IT Key Metrics Data cohorts. Benchmark results help identify where smarter spending opportunities may exist to improve cost management practices.</a:t>
            </a:r>
            <a:endParaRPr lang="en-GB" sz="1200" dirty="0">
              <a:solidFill>
                <a:srgbClr val="000000"/>
              </a:solidFill>
            </a:endParaRPr>
          </a:p>
        </p:txBody>
      </p:sp>
      <p:sp>
        <p:nvSpPr>
          <p:cNvPr id="21" name="Rectangle 20">
            <a:extLst>
              <a:ext uri="{FF2B5EF4-FFF2-40B4-BE49-F238E27FC236}">
                <a16:creationId xmlns:a16="http://schemas.microsoft.com/office/drawing/2014/main"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IT Security</a:t>
            </a:r>
          </a:p>
          <a:p>
            <a:r>
              <a:rPr lang="en-US" sz="1200" dirty="0">
                <a:solidFill>
                  <a:srgbClr val="000000"/>
                </a:solidFill>
              </a:rPr>
              <a:t>Provides a framework to define exactly what is included in IT security spending from a financial perspective and what is not. The framework also defines asset and operations distributions so you can understand what types of investments you are making. </a:t>
            </a:r>
            <a:endParaRPr lang="en-GB" sz="1200" dirty="0">
              <a:solidFill>
                <a:srgbClr val="000000"/>
              </a:solidFill>
            </a:endParaRPr>
          </a:p>
        </p:txBody>
      </p:sp>
      <p:sp>
        <p:nvSpPr>
          <p:cNvPr id="23" name="Freeform: Shape 22">
            <a:extLst>
              <a:ext uri="{FF2B5EF4-FFF2-40B4-BE49-F238E27FC236}">
                <a16:creationId xmlns:a16="http://schemas.microsoft.com/office/drawing/2014/main"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989D2003-2AEF-40FC-8483-B0DB50C2E5F7}"/>
              </a:ext>
            </a:extLst>
          </p:cNvPr>
          <p:cNvSpPr/>
          <p:nvPr/>
        </p:nvSpPr>
        <p:spPr>
          <a:xfrm>
            <a:off x="8296080" y="1515291"/>
            <a:ext cx="3694434" cy="463296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428AB4-3037-2565-609D-6E094F160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3FF15A38-9A66-7EF6-A59A-40DEF5D784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Object 38" hidden="1">
                        <a:extLst>
                          <a:ext uri="{FF2B5EF4-FFF2-40B4-BE49-F238E27FC236}">
                            <a16:creationId xmlns:a16="http://schemas.microsoft.com/office/drawing/2014/main" id="{3FF15A38-9A66-7EF6-A59A-40DEF5D78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Delegate the Security section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id="{776A6350-9741-3D66-D91D-424A9848D00D}"/>
              </a:ext>
            </a:extLst>
          </p:cNvPr>
          <p:cNvSpPr txBox="1"/>
          <p:nvPr/>
        </p:nvSpPr>
        <p:spPr>
          <a:xfrm>
            <a:off x="8962246" y="942778"/>
            <a:ext cx="2642205" cy="475488"/>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endParaRPr lang="en-US" sz="1400" dirty="0">
              <a:solidFill>
                <a:schemeClr val="bg1"/>
              </a:solidFill>
              <a:latin typeface="+mj-lt"/>
            </a:endParaRPr>
          </a:p>
        </p:txBody>
      </p:sp>
      <p:sp>
        <p:nvSpPr>
          <p:cNvPr id="15" name="Rectangle 14">
            <a:extLst>
              <a:ext uri="{FF2B5EF4-FFF2-40B4-BE49-F238E27FC236}">
                <a16:creationId xmlns:a16="http://schemas.microsoft.com/office/drawing/2014/main"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6">
                  <a:extLst>
                    <a:ext uri="{A12FA001-AC4F-418D-AE19-62706E023703}">
                      <ahyp:hlinkClr xmlns:ahyp="http://schemas.microsoft.com/office/drawing/2018/hyperlinkcolor"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8" name="Object 6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Rectangle 2"/>
          <p:cNvSpPr/>
          <p:nvPr/>
        </p:nvSpPr>
        <p:spPr bwMode="gray">
          <a:xfrm>
            <a:off x="4382373" y="4779168"/>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Get hel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Gartner experts perform hundreds of assessments. Contact your account team to get in touch.</a:t>
            </a:r>
            <a:endParaRPr lang="en-GB" sz="1100" kern="0" dirty="0">
              <a:solidFill>
                <a:srgbClr val="000000"/>
              </a:solidFill>
              <a:latin typeface="+mn-lt"/>
            </a:endParaRPr>
          </a:p>
        </p:txBody>
      </p:sp>
      <p:sp>
        <p:nvSpPr>
          <p:cNvPr id="4" name="Rectangle 3"/>
          <p:cNvSpPr/>
          <p:nvPr/>
        </p:nvSpPr>
        <p:spPr bwMode="gray">
          <a:xfrm>
            <a:off x="6780678"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estimate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It is ideal to be able to gather your data directly from your general ledger or accounting reports. Where you can’t, use estimates (Eg. FTEs)</a:t>
            </a:r>
            <a:endParaRPr lang="en-GB" sz="1100" kern="0" dirty="0">
              <a:solidFill>
                <a:srgbClr val="000000"/>
              </a:solidFill>
              <a:latin typeface="+mn-lt"/>
            </a:endParaRPr>
          </a:p>
        </p:txBody>
      </p:sp>
      <p:sp>
        <p:nvSpPr>
          <p:cNvPr id="5" name="Rectangle 4"/>
          <p:cNvSpPr/>
          <p:nvPr/>
        </p:nvSpPr>
        <p:spPr bwMode="gray">
          <a:xfrm>
            <a:off x="9197154"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Audit Trail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Keeping track of five assumptions and sources of data helps if you want to repeat the exercise in the future.</a:t>
            </a:r>
            <a:endParaRPr lang="en-GB" sz="1100" kern="0" dirty="0">
              <a:solidFill>
                <a:srgbClr val="000000"/>
              </a:solidFill>
              <a:latin typeface="+mn-lt"/>
            </a:endParaRPr>
          </a:p>
        </p:txBody>
      </p:sp>
      <p:sp>
        <p:nvSpPr>
          <p:cNvPr id="6" name="Rectangle 5"/>
          <p:cNvSpPr/>
          <p:nvPr/>
        </p:nvSpPr>
        <p:spPr bwMode="gray">
          <a:xfrm>
            <a:off x="5666021"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Check the </a:t>
            </a:r>
            <a:r>
              <a:rPr lang="en-GB" sz="1400" b="1" kern="0" dirty="0">
                <a:solidFill>
                  <a:schemeClr val="accent4"/>
                </a:solidFill>
                <a:latin typeface="+mj-lt"/>
                <a:hlinkClick r:id="rId7"/>
              </a:rPr>
              <a:t>FAQ</a:t>
            </a:r>
            <a:endParaRPr lang="en-GB" sz="1400" b="1" kern="0" dirty="0">
              <a:solidFill>
                <a:schemeClr val="accent4"/>
              </a:solidFill>
              <a:latin typeface="+mj-lt"/>
            </a:endParaRP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Some issues specific to industries or unique situations covered in our FAQ document.</a:t>
            </a:r>
            <a:endParaRPr lang="en-GB" sz="1100" kern="0" dirty="0">
              <a:solidFill>
                <a:srgbClr val="000000"/>
              </a:solidFill>
              <a:latin typeface="+mn-lt"/>
            </a:endParaRPr>
          </a:p>
        </p:txBody>
      </p:sp>
      <p:sp>
        <p:nvSpPr>
          <p:cNvPr id="7" name="Rectangle 6"/>
          <p:cNvSpPr/>
          <p:nvPr/>
        </p:nvSpPr>
        <p:spPr bwMode="gray">
          <a:xfrm>
            <a:off x="8082496" y="727384"/>
            <a:ext cx="2697264"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elf-Validation</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You can see if your data “makes sense” by performing checks</a:t>
            </a:r>
            <a:r>
              <a:rPr lang="en-GB" sz="1100" kern="0" dirty="0">
                <a:solidFill>
                  <a:schemeClr val="tx2"/>
                </a:solidFill>
                <a:latin typeface="+mn-lt"/>
              </a:rPr>
              <a:t>. </a:t>
            </a:r>
            <a:r>
              <a:rPr lang="en-US" sz="1100" kern="0" dirty="0">
                <a:solidFill>
                  <a:srgbClr val="000000"/>
                </a:solidFill>
              </a:rPr>
              <a:t>D</a:t>
            </a:r>
            <a:r>
              <a:rPr lang="en-US" sz="1100" kern="0" dirty="0">
                <a:solidFill>
                  <a:srgbClr val="000000"/>
                </a:solidFill>
                <a:latin typeface="+mn-lt"/>
              </a:rPr>
              <a:t>oes your personnel spending divided by your IT staff FTEs come out to a reasonable</a:t>
            </a:r>
            <a:endParaRPr lang="en-GB" sz="1100" kern="0" dirty="0">
              <a:solidFill>
                <a:srgbClr val="000000"/>
              </a:solidFill>
              <a:latin typeface="+mn-lt"/>
            </a:endParaRPr>
          </a:p>
        </p:txBody>
      </p:sp>
      <p:sp>
        <p:nvSpPr>
          <p:cNvPr id="8" name="Rectangle 7"/>
          <p:cNvSpPr/>
          <p:nvPr/>
        </p:nvSpPr>
        <p:spPr bwMode="gray">
          <a:xfrm>
            <a:off x="1838960" y="4742735"/>
            <a:ext cx="2296159"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Project management</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Assign a single, accountable project manager and project team.</a:t>
            </a:r>
            <a:endParaRPr lang="en-GB" sz="1100" kern="0" dirty="0">
              <a:solidFill>
                <a:srgbClr val="000000"/>
              </a:solidFill>
              <a:latin typeface="+mn-lt"/>
            </a:endParaRPr>
          </a:p>
        </p:txBody>
      </p:sp>
      <p:sp>
        <p:nvSpPr>
          <p:cNvPr id="9" name="Rectangle 8"/>
          <p:cNvSpPr/>
          <p:nvPr/>
        </p:nvSpPr>
        <p:spPr bwMode="gray">
          <a:xfrm>
            <a:off x="2932144" y="727384"/>
            <a:ext cx="248313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the documentation</a:t>
            </a:r>
          </a:p>
          <a:p>
            <a:pPr marL="0" marR="0" lvl="0" indent="0" algn="l" defTabSz="864065" eaLnBrk="1" fontAlgn="auto" latinLnBrk="0" hangingPunct="1">
              <a:lnSpc>
                <a:spcPct val="100000"/>
              </a:lnSpc>
              <a:spcBef>
                <a:spcPts val="0"/>
              </a:spcBef>
              <a:spcAft>
                <a:spcPts val="0"/>
              </a:spcAft>
              <a:buClrTx/>
              <a:buSzTx/>
              <a:buFontTx/>
              <a:buNone/>
              <a:tabLst/>
              <a:defRPr/>
            </a:pPr>
            <a:r>
              <a:rPr lang="en-GB" sz="1100" kern="0" dirty="0">
                <a:solidFill>
                  <a:srgbClr val="000000"/>
                </a:solidFill>
                <a:latin typeface="+mn-lt"/>
              </a:rPr>
              <a:t>Leverage the </a:t>
            </a:r>
            <a:r>
              <a:rPr lang="en-GB" sz="1100" kern="0" dirty="0">
                <a:solidFill>
                  <a:srgbClr val="000000"/>
                </a:solidFill>
                <a:hlinkClick r:id="rId8"/>
              </a:rPr>
              <a:t>Framework Document for IT Security</a:t>
            </a:r>
            <a:r>
              <a:rPr lang="en-GB" sz="1100" kern="0" dirty="0">
                <a:solidFill>
                  <a:srgbClr val="000000"/>
                </a:solidFill>
                <a:highlight>
                  <a:srgbClr val="FFFF00"/>
                </a:highlight>
                <a:hlinkClick r:id="rId8"/>
              </a:rPr>
              <a:t> </a:t>
            </a:r>
            <a:endParaRPr lang="en-GB" sz="900" kern="0" dirty="0">
              <a:solidFill>
                <a:srgbClr val="000000"/>
              </a:solidFill>
              <a:highlight>
                <a:srgbClr val="FFFF00"/>
              </a:highlight>
              <a:latin typeface="+mn-lt"/>
            </a:endParaRPr>
          </a:p>
        </p:txBody>
      </p:sp>
      <p:sp>
        <p:nvSpPr>
          <p:cNvPr id="10" name="Freeform 22"/>
          <p:cNvSpPr>
            <a:spLocks/>
          </p:cNvSpPr>
          <p:nvPr/>
        </p:nvSpPr>
        <p:spPr bwMode="gray">
          <a:xfrm>
            <a:off x="4824559" y="1744407"/>
            <a:ext cx="5838326" cy="2966395"/>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7" h="820">
                <a:moveTo>
                  <a:pt x="1615" y="480"/>
                </a:moveTo>
                <a:cubicBezTo>
                  <a:pt x="1612" y="404"/>
                  <a:pt x="1550" y="341"/>
                  <a:pt x="1473" y="338"/>
                </a:cubicBezTo>
                <a:cubicBezTo>
                  <a:pt x="1425" y="336"/>
                  <a:pt x="1381" y="357"/>
                  <a:pt x="1353" y="391"/>
                </a:cubicBezTo>
                <a:cubicBezTo>
                  <a:pt x="1341" y="405"/>
                  <a:pt x="1321" y="409"/>
                  <a:pt x="1305" y="400"/>
                </a:cubicBezTo>
                <a:cubicBezTo>
                  <a:pt x="1304" y="399"/>
                  <a:pt x="1304" y="399"/>
                  <a:pt x="1304" y="399"/>
                </a:cubicBezTo>
                <a:cubicBezTo>
                  <a:pt x="1290" y="392"/>
                  <a:pt x="1284" y="377"/>
                  <a:pt x="1286" y="362"/>
                </a:cubicBezTo>
                <a:cubicBezTo>
                  <a:pt x="1288" y="349"/>
                  <a:pt x="1289" y="336"/>
                  <a:pt x="1288" y="323"/>
                </a:cubicBezTo>
                <a:cubicBezTo>
                  <a:pt x="1281" y="251"/>
                  <a:pt x="1222" y="194"/>
                  <a:pt x="1150" y="190"/>
                </a:cubicBezTo>
                <a:cubicBezTo>
                  <a:pt x="1148" y="190"/>
                  <a:pt x="1147" y="190"/>
                  <a:pt x="1146" y="190"/>
                </a:cubicBezTo>
                <a:cubicBezTo>
                  <a:pt x="1146" y="0"/>
                  <a:pt x="1146" y="0"/>
                  <a:pt x="1146" y="0"/>
                </a:cubicBezTo>
                <a:cubicBezTo>
                  <a:pt x="1133" y="0"/>
                  <a:pt x="1133" y="0"/>
                  <a:pt x="1133" y="0"/>
                </a:cubicBezTo>
                <a:cubicBezTo>
                  <a:pt x="1133" y="152"/>
                  <a:pt x="1133" y="152"/>
                  <a:pt x="1133" y="152"/>
                </a:cubicBezTo>
                <a:cubicBezTo>
                  <a:pt x="1133" y="172"/>
                  <a:pt x="1121" y="189"/>
                  <a:pt x="1102" y="194"/>
                </a:cubicBezTo>
                <a:cubicBezTo>
                  <a:pt x="1039" y="211"/>
                  <a:pt x="992" y="269"/>
                  <a:pt x="992" y="337"/>
                </a:cubicBezTo>
                <a:cubicBezTo>
                  <a:pt x="992" y="347"/>
                  <a:pt x="993" y="357"/>
                  <a:pt x="995" y="366"/>
                </a:cubicBezTo>
                <a:cubicBezTo>
                  <a:pt x="998" y="381"/>
                  <a:pt x="992" y="397"/>
                  <a:pt x="978" y="405"/>
                </a:cubicBezTo>
                <a:cubicBezTo>
                  <a:pt x="963" y="414"/>
                  <a:pt x="943" y="410"/>
                  <a:pt x="932" y="396"/>
                </a:cubicBezTo>
                <a:cubicBezTo>
                  <a:pt x="905" y="360"/>
                  <a:pt x="862" y="337"/>
                  <a:pt x="814" y="337"/>
                </a:cubicBezTo>
                <a:cubicBezTo>
                  <a:pt x="767" y="337"/>
                  <a:pt x="726" y="359"/>
                  <a:pt x="699" y="393"/>
                </a:cubicBezTo>
                <a:cubicBezTo>
                  <a:pt x="686" y="409"/>
                  <a:pt x="663" y="414"/>
                  <a:pt x="646" y="403"/>
                </a:cubicBezTo>
                <a:cubicBezTo>
                  <a:pt x="644" y="402"/>
                  <a:pt x="644" y="402"/>
                  <a:pt x="644" y="402"/>
                </a:cubicBezTo>
                <a:cubicBezTo>
                  <a:pt x="629" y="394"/>
                  <a:pt x="621" y="377"/>
                  <a:pt x="624" y="361"/>
                </a:cubicBezTo>
                <a:cubicBezTo>
                  <a:pt x="626" y="349"/>
                  <a:pt x="626" y="337"/>
                  <a:pt x="625" y="324"/>
                </a:cubicBezTo>
                <a:cubicBezTo>
                  <a:pt x="619" y="252"/>
                  <a:pt x="560" y="194"/>
                  <a:pt x="487" y="190"/>
                </a:cubicBezTo>
                <a:cubicBezTo>
                  <a:pt x="487" y="190"/>
                  <a:pt x="487" y="190"/>
                  <a:pt x="487" y="190"/>
                </a:cubicBezTo>
                <a:cubicBezTo>
                  <a:pt x="487" y="0"/>
                  <a:pt x="487" y="0"/>
                  <a:pt x="487" y="0"/>
                </a:cubicBezTo>
                <a:cubicBezTo>
                  <a:pt x="475" y="0"/>
                  <a:pt x="475" y="0"/>
                  <a:pt x="475" y="0"/>
                </a:cubicBezTo>
                <a:cubicBezTo>
                  <a:pt x="475" y="151"/>
                  <a:pt x="475" y="151"/>
                  <a:pt x="475" y="151"/>
                </a:cubicBezTo>
                <a:cubicBezTo>
                  <a:pt x="475" y="172"/>
                  <a:pt x="461" y="189"/>
                  <a:pt x="441" y="194"/>
                </a:cubicBezTo>
                <a:cubicBezTo>
                  <a:pt x="377" y="210"/>
                  <a:pt x="330" y="268"/>
                  <a:pt x="330" y="337"/>
                </a:cubicBezTo>
                <a:cubicBezTo>
                  <a:pt x="330" y="351"/>
                  <a:pt x="332" y="365"/>
                  <a:pt x="335" y="377"/>
                </a:cubicBezTo>
                <a:cubicBezTo>
                  <a:pt x="339" y="392"/>
                  <a:pt x="330" y="404"/>
                  <a:pt x="315" y="404"/>
                </a:cubicBezTo>
                <a:cubicBezTo>
                  <a:pt x="296" y="404"/>
                  <a:pt x="269" y="393"/>
                  <a:pt x="255" y="380"/>
                </a:cubicBezTo>
                <a:cubicBezTo>
                  <a:pt x="225" y="351"/>
                  <a:pt x="183" y="334"/>
                  <a:pt x="138" y="338"/>
                </a:cubicBezTo>
                <a:cubicBezTo>
                  <a:pt x="65" y="344"/>
                  <a:pt x="8" y="404"/>
                  <a:pt x="4" y="477"/>
                </a:cubicBezTo>
                <a:cubicBezTo>
                  <a:pt x="0" y="548"/>
                  <a:pt x="46" y="609"/>
                  <a:pt x="111" y="628"/>
                </a:cubicBezTo>
                <a:cubicBezTo>
                  <a:pt x="127" y="632"/>
                  <a:pt x="138" y="647"/>
                  <a:pt x="138" y="663"/>
                </a:cubicBezTo>
                <a:cubicBezTo>
                  <a:pt x="138" y="820"/>
                  <a:pt x="138" y="820"/>
                  <a:pt x="138" y="820"/>
                </a:cubicBezTo>
                <a:cubicBezTo>
                  <a:pt x="150" y="820"/>
                  <a:pt x="150" y="820"/>
                  <a:pt x="150" y="820"/>
                </a:cubicBezTo>
                <a:cubicBezTo>
                  <a:pt x="150" y="642"/>
                  <a:pt x="150" y="642"/>
                  <a:pt x="150" y="642"/>
                </a:cubicBezTo>
                <a:cubicBezTo>
                  <a:pt x="150" y="637"/>
                  <a:pt x="154" y="633"/>
                  <a:pt x="159" y="633"/>
                </a:cubicBezTo>
                <a:cubicBezTo>
                  <a:pt x="232" y="630"/>
                  <a:pt x="292" y="572"/>
                  <a:pt x="299" y="500"/>
                </a:cubicBezTo>
                <a:cubicBezTo>
                  <a:pt x="300" y="489"/>
                  <a:pt x="300" y="479"/>
                  <a:pt x="299" y="469"/>
                </a:cubicBezTo>
                <a:cubicBezTo>
                  <a:pt x="297" y="455"/>
                  <a:pt x="304" y="441"/>
                  <a:pt x="316" y="434"/>
                </a:cubicBezTo>
                <a:cubicBezTo>
                  <a:pt x="323" y="430"/>
                  <a:pt x="323" y="430"/>
                  <a:pt x="323" y="430"/>
                </a:cubicBezTo>
                <a:cubicBezTo>
                  <a:pt x="338" y="421"/>
                  <a:pt x="357" y="424"/>
                  <a:pt x="368" y="437"/>
                </a:cubicBezTo>
                <a:cubicBezTo>
                  <a:pt x="395" y="467"/>
                  <a:pt x="434" y="485"/>
                  <a:pt x="478" y="485"/>
                </a:cubicBezTo>
                <a:cubicBezTo>
                  <a:pt x="521" y="485"/>
                  <a:pt x="560" y="467"/>
                  <a:pt x="587" y="437"/>
                </a:cubicBezTo>
                <a:cubicBezTo>
                  <a:pt x="600" y="423"/>
                  <a:pt x="621" y="420"/>
                  <a:pt x="638" y="430"/>
                </a:cubicBezTo>
                <a:cubicBezTo>
                  <a:pt x="646" y="434"/>
                  <a:pt x="646" y="434"/>
                  <a:pt x="646" y="434"/>
                </a:cubicBezTo>
                <a:cubicBezTo>
                  <a:pt x="660" y="442"/>
                  <a:pt x="668" y="457"/>
                  <a:pt x="667" y="473"/>
                </a:cubicBezTo>
                <a:cubicBezTo>
                  <a:pt x="666" y="480"/>
                  <a:pt x="666" y="487"/>
                  <a:pt x="666" y="495"/>
                </a:cubicBezTo>
                <a:cubicBezTo>
                  <a:pt x="670" y="560"/>
                  <a:pt x="717" y="614"/>
                  <a:pt x="779" y="629"/>
                </a:cubicBezTo>
                <a:cubicBezTo>
                  <a:pt x="790" y="632"/>
                  <a:pt x="798" y="642"/>
                  <a:pt x="798" y="654"/>
                </a:cubicBezTo>
                <a:cubicBezTo>
                  <a:pt x="798" y="820"/>
                  <a:pt x="798" y="820"/>
                  <a:pt x="798" y="820"/>
                </a:cubicBezTo>
                <a:cubicBezTo>
                  <a:pt x="810" y="820"/>
                  <a:pt x="810" y="820"/>
                  <a:pt x="810" y="820"/>
                </a:cubicBezTo>
                <a:cubicBezTo>
                  <a:pt x="810" y="642"/>
                  <a:pt x="810" y="642"/>
                  <a:pt x="810" y="642"/>
                </a:cubicBezTo>
                <a:cubicBezTo>
                  <a:pt x="810" y="637"/>
                  <a:pt x="814" y="633"/>
                  <a:pt x="819" y="633"/>
                </a:cubicBezTo>
                <a:cubicBezTo>
                  <a:pt x="898" y="631"/>
                  <a:pt x="962" y="566"/>
                  <a:pt x="962" y="485"/>
                </a:cubicBezTo>
                <a:cubicBezTo>
                  <a:pt x="962" y="480"/>
                  <a:pt x="962" y="475"/>
                  <a:pt x="961" y="470"/>
                </a:cubicBezTo>
                <a:cubicBezTo>
                  <a:pt x="960" y="456"/>
                  <a:pt x="967" y="442"/>
                  <a:pt x="979" y="435"/>
                </a:cubicBezTo>
                <a:cubicBezTo>
                  <a:pt x="987" y="431"/>
                  <a:pt x="987" y="431"/>
                  <a:pt x="987" y="431"/>
                </a:cubicBezTo>
                <a:cubicBezTo>
                  <a:pt x="1001" y="422"/>
                  <a:pt x="1020" y="425"/>
                  <a:pt x="1031" y="437"/>
                </a:cubicBezTo>
                <a:cubicBezTo>
                  <a:pt x="1058" y="467"/>
                  <a:pt x="1097" y="485"/>
                  <a:pt x="1140" y="485"/>
                </a:cubicBezTo>
                <a:cubicBezTo>
                  <a:pt x="1185" y="485"/>
                  <a:pt x="1224" y="466"/>
                  <a:pt x="1251" y="435"/>
                </a:cubicBezTo>
                <a:cubicBezTo>
                  <a:pt x="1263" y="422"/>
                  <a:pt x="1283" y="418"/>
                  <a:pt x="1298" y="427"/>
                </a:cubicBezTo>
                <a:cubicBezTo>
                  <a:pt x="1301" y="429"/>
                  <a:pt x="1301" y="429"/>
                  <a:pt x="1301" y="429"/>
                </a:cubicBezTo>
                <a:cubicBezTo>
                  <a:pt x="1314" y="436"/>
                  <a:pt x="1322" y="451"/>
                  <a:pt x="1320" y="466"/>
                </a:cubicBezTo>
                <a:cubicBezTo>
                  <a:pt x="1318" y="478"/>
                  <a:pt x="1318" y="490"/>
                  <a:pt x="1320" y="503"/>
                </a:cubicBezTo>
                <a:cubicBezTo>
                  <a:pt x="1328" y="571"/>
                  <a:pt x="1382" y="624"/>
                  <a:pt x="1449" y="632"/>
                </a:cubicBezTo>
                <a:cubicBezTo>
                  <a:pt x="1453" y="633"/>
                  <a:pt x="1456" y="636"/>
                  <a:pt x="1456" y="641"/>
                </a:cubicBezTo>
                <a:cubicBezTo>
                  <a:pt x="1456" y="820"/>
                  <a:pt x="1456" y="820"/>
                  <a:pt x="1456" y="820"/>
                </a:cubicBezTo>
                <a:cubicBezTo>
                  <a:pt x="1469" y="820"/>
                  <a:pt x="1469" y="820"/>
                  <a:pt x="1469" y="820"/>
                </a:cubicBezTo>
                <a:cubicBezTo>
                  <a:pt x="1469" y="656"/>
                  <a:pt x="1469" y="656"/>
                  <a:pt x="1469" y="656"/>
                </a:cubicBezTo>
                <a:cubicBezTo>
                  <a:pt x="1469" y="644"/>
                  <a:pt x="1478" y="633"/>
                  <a:pt x="1490" y="632"/>
                </a:cubicBezTo>
                <a:cubicBezTo>
                  <a:pt x="1562" y="620"/>
                  <a:pt x="1617" y="556"/>
                  <a:pt x="1615" y="480"/>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25"/>
          <p:cNvSpPr>
            <a:spLocks noChangeArrowheads="1"/>
          </p:cNvSpPr>
          <p:nvPr/>
        </p:nvSpPr>
        <p:spPr bwMode="gray">
          <a:xfrm>
            <a:off x="6116863" y="2532910"/>
            <a:ext cx="859349"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6"/>
          <p:cNvSpPr>
            <a:spLocks noChangeArrowheads="1"/>
          </p:cNvSpPr>
          <p:nvPr/>
        </p:nvSpPr>
        <p:spPr bwMode="gray">
          <a:xfrm>
            <a:off x="4946941" y="308898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27"/>
          <p:cNvSpPr>
            <a:spLocks noChangeArrowheads="1"/>
          </p:cNvSpPr>
          <p:nvPr/>
        </p:nvSpPr>
        <p:spPr bwMode="gray">
          <a:xfrm>
            <a:off x="7340944"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28"/>
          <p:cNvSpPr>
            <a:spLocks noChangeArrowheads="1"/>
          </p:cNvSpPr>
          <p:nvPr/>
        </p:nvSpPr>
        <p:spPr bwMode="gray">
          <a:xfrm>
            <a:off x="8511233" y="253291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29"/>
          <p:cNvSpPr>
            <a:spLocks noChangeArrowheads="1"/>
          </p:cNvSpPr>
          <p:nvPr/>
        </p:nvSpPr>
        <p:spPr bwMode="gray">
          <a:xfrm>
            <a:off x="9692017"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0"/>
          <p:cNvSpPr>
            <a:spLocks/>
          </p:cNvSpPr>
          <p:nvPr/>
        </p:nvSpPr>
        <p:spPr bwMode="gray">
          <a:xfrm>
            <a:off x="6481595" y="1705048"/>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31"/>
          <p:cNvSpPr>
            <a:spLocks/>
          </p:cNvSpPr>
          <p:nvPr/>
        </p:nvSpPr>
        <p:spPr bwMode="gray">
          <a:xfrm>
            <a:off x="8857596" y="1705048"/>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32"/>
          <p:cNvSpPr>
            <a:spLocks/>
          </p:cNvSpPr>
          <p:nvPr/>
        </p:nvSpPr>
        <p:spPr bwMode="gray">
          <a:xfrm>
            <a:off x="7647947"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33"/>
          <p:cNvSpPr>
            <a:spLocks/>
          </p:cNvSpPr>
          <p:nvPr/>
        </p:nvSpPr>
        <p:spPr bwMode="gray">
          <a:xfrm>
            <a:off x="5271001" y="4663361"/>
            <a:ext cx="162686" cy="162686"/>
          </a:xfrm>
          <a:custGeom>
            <a:avLst/>
            <a:gdLst>
              <a:gd name="T0" fmla="*/ 64 w 124"/>
              <a:gd name="T1" fmla="*/ 0 h 124"/>
              <a:gd name="T2" fmla="*/ 124 w 124"/>
              <a:gd name="T3" fmla="*/ 61 h 124"/>
              <a:gd name="T4" fmla="*/ 64 w 124"/>
              <a:gd name="T5" fmla="*/ 124 h 124"/>
              <a:gd name="T6" fmla="*/ 0 w 124"/>
              <a:gd name="T7" fmla="*/ 61 h 124"/>
              <a:gd name="T8" fmla="*/ 64 w 124"/>
              <a:gd name="T9" fmla="*/ 0 h 124"/>
            </a:gdLst>
            <a:ahLst/>
            <a:cxnLst>
              <a:cxn ang="0">
                <a:pos x="T0" y="T1"/>
              </a:cxn>
              <a:cxn ang="0">
                <a:pos x="T2" y="T3"/>
              </a:cxn>
              <a:cxn ang="0">
                <a:pos x="T4" y="T5"/>
              </a:cxn>
              <a:cxn ang="0">
                <a:pos x="T6" y="T7"/>
              </a:cxn>
              <a:cxn ang="0">
                <a:pos x="T8" y="T9"/>
              </a:cxn>
            </a:cxnLst>
            <a:rect l="0" t="0" r="r" b="b"/>
            <a:pathLst>
              <a:path w="124" h="124">
                <a:moveTo>
                  <a:pt x="64" y="0"/>
                </a:moveTo>
                <a:lnTo>
                  <a:pt x="124" y="61"/>
                </a:lnTo>
                <a:lnTo>
                  <a:pt x="64" y="124"/>
                </a:lnTo>
                <a:lnTo>
                  <a:pt x="0" y="61"/>
                </a:lnTo>
                <a:lnTo>
                  <a:pt x="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34"/>
          <p:cNvSpPr>
            <a:spLocks/>
          </p:cNvSpPr>
          <p:nvPr/>
        </p:nvSpPr>
        <p:spPr bwMode="gray">
          <a:xfrm>
            <a:off x="10031822"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543"/>
          <p:cNvSpPr>
            <a:spLocks noEditPoints="1"/>
          </p:cNvSpPr>
          <p:nvPr/>
        </p:nvSpPr>
        <p:spPr bwMode="gray">
          <a:xfrm>
            <a:off x="5210899" y="3379768"/>
            <a:ext cx="346004" cy="292205"/>
          </a:xfrm>
          <a:custGeom>
            <a:avLst/>
            <a:gdLst>
              <a:gd name="T0" fmla="*/ 152 w 328"/>
              <a:gd name="T1" fmla="*/ 82 h 277"/>
              <a:gd name="T2" fmla="*/ 51 w 328"/>
              <a:gd name="T3" fmla="*/ 82 h 277"/>
              <a:gd name="T4" fmla="*/ 51 w 328"/>
              <a:gd name="T5" fmla="*/ 57 h 277"/>
              <a:gd name="T6" fmla="*/ 152 w 328"/>
              <a:gd name="T7" fmla="*/ 57 h 277"/>
              <a:gd name="T8" fmla="*/ 152 w 328"/>
              <a:gd name="T9" fmla="*/ 82 h 277"/>
              <a:gd name="T10" fmla="*/ 177 w 328"/>
              <a:gd name="T11" fmla="*/ 101 h 277"/>
              <a:gd name="T12" fmla="*/ 51 w 328"/>
              <a:gd name="T13" fmla="*/ 101 h 277"/>
              <a:gd name="T14" fmla="*/ 51 w 328"/>
              <a:gd name="T15" fmla="*/ 126 h 277"/>
              <a:gd name="T16" fmla="*/ 177 w 328"/>
              <a:gd name="T17" fmla="*/ 126 h 277"/>
              <a:gd name="T18" fmla="*/ 177 w 328"/>
              <a:gd name="T19" fmla="*/ 101 h 277"/>
              <a:gd name="T20" fmla="*/ 227 w 328"/>
              <a:gd name="T21" fmla="*/ 277 h 277"/>
              <a:gd name="T22" fmla="*/ 0 w 328"/>
              <a:gd name="T23" fmla="*/ 277 h 277"/>
              <a:gd name="T24" fmla="*/ 0 w 328"/>
              <a:gd name="T25" fmla="*/ 0 h 277"/>
              <a:gd name="T26" fmla="*/ 227 w 328"/>
              <a:gd name="T27" fmla="*/ 0 h 277"/>
              <a:gd name="T28" fmla="*/ 227 w 328"/>
              <a:gd name="T29" fmla="*/ 277 h 277"/>
              <a:gd name="T30" fmla="*/ 202 w 328"/>
              <a:gd name="T31" fmla="*/ 25 h 277"/>
              <a:gd name="T32" fmla="*/ 26 w 328"/>
              <a:gd name="T33" fmla="*/ 25 h 277"/>
              <a:gd name="T34" fmla="*/ 26 w 328"/>
              <a:gd name="T35" fmla="*/ 252 h 277"/>
              <a:gd name="T36" fmla="*/ 202 w 328"/>
              <a:gd name="T37" fmla="*/ 252 h 277"/>
              <a:gd name="T38" fmla="*/ 202 w 328"/>
              <a:gd name="T39" fmla="*/ 25 h 277"/>
              <a:gd name="T40" fmla="*/ 290 w 328"/>
              <a:gd name="T41" fmla="*/ 277 h 277"/>
              <a:gd name="T42" fmla="*/ 252 w 328"/>
              <a:gd name="T43" fmla="*/ 202 h 277"/>
              <a:gd name="T44" fmla="*/ 252 w 328"/>
              <a:gd name="T45" fmla="*/ 0 h 277"/>
              <a:gd name="T46" fmla="*/ 328 w 328"/>
              <a:gd name="T47" fmla="*/ 0 h 277"/>
              <a:gd name="T48" fmla="*/ 328 w 328"/>
              <a:gd name="T49" fmla="*/ 202 h 277"/>
              <a:gd name="T50" fmla="*/ 290 w 328"/>
              <a:gd name="T51" fmla="*/ 277 h 277"/>
              <a:gd name="T52" fmla="*/ 303 w 328"/>
              <a:gd name="T53" fmla="*/ 25 h 277"/>
              <a:gd name="T54" fmla="*/ 278 w 328"/>
              <a:gd name="T55" fmla="*/ 25 h 277"/>
              <a:gd name="T56" fmla="*/ 278 w 328"/>
              <a:gd name="T57" fmla="*/ 50 h 277"/>
              <a:gd name="T58" fmla="*/ 303 w 328"/>
              <a:gd name="T59" fmla="*/ 50 h 277"/>
              <a:gd name="T60" fmla="*/ 303 w 328"/>
              <a:gd name="T61" fmla="*/ 25 h 277"/>
              <a:gd name="T62" fmla="*/ 278 w 328"/>
              <a:gd name="T63" fmla="*/ 202 h 277"/>
              <a:gd name="T64" fmla="*/ 303 w 328"/>
              <a:gd name="T65" fmla="*/ 202 h 277"/>
              <a:gd name="T66" fmla="*/ 303 w 328"/>
              <a:gd name="T67" fmla="*/ 76 h 277"/>
              <a:gd name="T68" fmla="*/ 278 w 328"/>
              <a:gd name="T69" fmla="*/ 76 h 277"/>
              <a:gd name="T70" fmla="*/ 278 w 328"/>
              <a:gd name="T71"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77">
                <a:moveTo>
                  <a:pt x="152" y="82"/>
                </a:moveTo>
                <a:lnTo>
                  <a:pt x="51" y="82"/>
                </a:lnTo>
                <a:lnTo>
                  <a:pt x="51" y="57"/>
                </a:lnTo>
                <a:lnTo>
                  <a:pt x="152" y="57"/>
                </a:lnTo>
                <a:lnTo>
                  <a:pt x="152" y="82"/>
                </a:lnTo>
                <a:close/>
                <a:moveTo>
                  <a:pt x="177" y="101"/>
                </a:moveTo>
                <a:lnTo>
                  <a:pt x="51" y="101"/>
                </a:lnTo>
                <a:lnTo>
                  <a:pt x="51" y="126"/>
                </a:lnTo>
                <a:lnTo>
                  <a:pt x="177" y="126"/>
                </a:lnTo>
                <a:lnTo>
                  <a:pt x="177" y="101"/>
                </a:lnTo>
                <a:close/>
                <a:moveTo>
                  <a:pt x="227" y="277"/>
                </a:moveTo>
                <a:lnTo>
                  <a:pt x="0" y="277"/>
                </a:lnTo>
                <a:lnTo>
                  <a:pt x="0" y="0"/>
                </a:lnTo>
                <a:lnTo>
                  <a:pt x="227" y="0"/>
                </a:lnTo>
                <a:lnTo>
                  <a:pt x="227" y="277"/>
                </a:lnTo>
                <a:close/>
                <a:moveTo>
                  <a:pt x="202" y="25"/>
                </a:moveTo>
                <a:lnTo>
                  <a:pt x="26" y="25"/>
                </a:lnTo>
                <a:lnTo>
                  <a:pt x="26" y="252"/>
                </a:lnTo>
                <a:lnTo>
                  <a:pt x="202" y="252"/>
                </a:lnTo>
                <a:lnTo>
                  <a:pt x="202" y="25"/>
                </a:lnTo>
                <a:close/>
                <a:moveTo>
                  <a:pt x="290" y="277"/>
                </a:moveTo>
                <a:lnTo>
                  <a:pt x="252" y="202"/>
                </a:lnTo>
                <a:lnTo>
                  <a:pt x="252" y="0"/>
                </a:lnTo>
                <a:lnTo>
                  <a:pt x="328" y="0"/>
                </a:lnTo>
                <a:lnTo>
                  <a:pt x="328" y="202"/>
                </a:lnTo>
                <a:lnTo>
                  <a:pt x="290" y="277"/>
                </a:lnTo>
                <a:close/>
                <a:moveTo>
                  <a:pt x="303" y="25"/>
                </a:moveTo>
                <a:lnTo>
                  <a:pt x="278" y="25"/>
                </a:lnTo>
                <a:lnTo>
                  <a:pt x="278" y="50"/>
                </a:lnTo>
                <a:lnTo>
                  <a:pt x="303" y="50"/>
                </a:lnTo>
                <a:lnTo>
                  <a:pt x="303" y="25"/>
                </a:lnTo>
                <a:close/>
                <a:moveTo>
                  <a:pt x="278" y="202"/>
                </a:moveTo>
                <a:lnTo>
                  <a:pt x="303" y="202"/>
                </a:lnTo>
                <a:lnTo>
                  <a:pt x="303" y="76"/>
                </a:lnTo>
                <a:lnTo>
                  <a:pt x="278" y="76"/>
                </a:lnTo>
                <a:lnTo>
                  <a:pt x="278"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gray">
          <a:xfrm>
            <a:off x="1261417" y="1728756"/>
            <a:ext cx="4640353" cy="2966390"/>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 name="connsiteX0" fmla="*/ 9965 w 9965"/>
              <a:gd name="connsiteY0" fmla="*/ 5854 h 10000"/>
              <a:gd name="connsiteX1" fmla="*/ 9086 w 9965"/>
              <a:gd name="connsiteY1" fmla="*/ 4122 h 10000"/>
              <a:gd name="connsiteX2" fmla="*/ 8344 w 9965"/>
              <a:gd name="connsiteY2" fmla="*/ 4768 h 10000"/>
              <a:gd name="connsiteX3" fmla="*/ 8048 w 9965"/>
              <a:gd name="connsiteY3" fmla="*/ 4878 h 10000"/>
              <a:gd name="connsiteX4" fmla="*/ 8041 w 9965"/>
              <a:gd name="connsiteY4" fmla="*/ 4866 h 10000"/>
              <a:gd name="connsiteX5" fmla="*/ 7930 w 9965"/>
              <a:gd name="connsiteY5" fmla="*/ 4415 h 10000"/>
              <a:gd name="connsiteX6" fmla="*/ 7942 w 9965"/>
              <a:gd name="connsiteY6" fmla="*/ 3939 h 10000"/>
              <a:gd name="connsiteX7" fmla="*/ 7089 w 9965"/>
              <a:gd name="connsiteY7" fmla="*/ 2317 h 10000"/>
              <a:gd name="connsiteX8" fmla="*/ 7064 w 9965"/>
              <a:gd name="connsiteY8" fmla="*/ 2317 h 10000"/>
              <a:gd name="connsiteX9" fmla="*/ 7064 w 9965"/>
              <a:gd name="connsiteY9" fmla="*/ 0 h 10000"/>
              <a:gd name="connsiteX10" fmla="*/ 6984 w 9965"/>
              <a:gd name="connsiteY10" fmla="*/ 0 h 10000"/>
              <a:gd name="connsiteX11" fmla="*/ 6984 w 9965"/>
              <a:gd name="connsiteY11" fmla="*/ 1854 h 10000"/>
              <a:gd name="connsiteX12" fmla="*/ 6792 w 9965"/>
              <a:gd name="connsiteY12" fmla="*/ 2366 h 10000"/>
              <a:gd name="connsiteX13" fmla="*/ 6112 w 9965"/>
              <a:gd name="connsiteY13" fmla="*/ 4110 h 10000"/>
              <a:gd name="connsiteX14" fmla="*/ 6130 w 9965"/>
              <a:gd name="connsiteY14" fmla="*/ 4463 h 10000"/>
              <a:gd name="connsiteX15" fmla="*/ 6025 w 9965"/>
              <a:gd name="connsiteY15" fmla="*/ 4939 h 10000"/>
              <a:gd name="connsiteX16" fmla="*/ 5741 w 9965"/>
              <a:gd name="connsiteY16" fmla="*/ 4829 h 10000"/>
              <a:gd name="connsiteX17" fmla="*/ 5011 w 9965"/>
              <a:gd name="connsiteY17" fmla="*/ 4110 h 10000"/>
              <a:gd name="connsiteX18" fmla="*/ 4300 w 9965"/>
              <a:gd name="connsiteY18" fmla="*/ 4793 h 10000"/>
              <a:gd name="connsiteX19" fmla="*/ 3972 w 9965"/>
              <a:gd name="connsiteY19" fmla="*/ 4915 h 10000"/>
              <a:gd name="connsiteX20" fmla="*/ 3960 w 9965"/>
              <a:gd name="connsiteY20" fmla="*/ 4902 h 10000"/>
              <a:gd name="connsiteX21" fmla="*/ 3836 w 9965"/>
              <a:gd name="connsiteY21" fmla="*/ 4402 h 10000"/>
              <a:gd name="connsiteX22" fmla="*/ 3842 w 9965"/>
              <a:gd name="connsiteY22" fmla="*/ 3951 h 10000"/>
              <a:gd name="connsiteX23" fmla="*/ 2989 w 9965"/>
              <a:gd name="connsiteY23" fmla="*/ 2317 h 10000"/>
              <a:gd name="connsiteX24" fmla="*/ 2989 w 9965"/>
              <a:gd name="connsiteY24" fmla="*/ 2317 h 10000"/>
              <a:gd name="connsiteX25" fmla="*/ 2989 w 9965"/>
              <a:gd name="connsiteY25" fmla="*/ 0 h 10000"/>
              <a:gd name="connsiteX26" fmla="*/ 2915 w 9965"/>
              <a:gd name="connsiteY26" fmla="*/ 0 h 10000"/>
              <a:gd name="connsiteX27" fmla="*/ 2915 w 9965"/>
              <a:gd name="connsiteY27" fmla="*/ 1841 h 10000"/>
              <a:gd name="connsiteX28" fmla="*/ 2704 w 9965"/>
              <a:gd name="connsiteY28" fmla="*/ 2366 h 10000"/>
              <a:gd name="connsiteX29" fmla="*/ 2018 w 9965"/>
              <a:gd name="connsiteY29" fmla="*/ 4110 h 10000"/>
              <a:gd name="connsiteX30" fmla="*/ 2049 w 9965"/>
              <a:gd name="connsiteY30" fmla="*/ 4598 h 10000"/>
              <a:gd name="connsiteX31" fmla="*/ 1925 w 9965"/>
              <a:gd name="connsiteY31" fmla="*/ 4927 h 10000"/>
              <a:gd name="connsiteX32" fmla="*/ 1554 w 9965"/>
              <a:gd name="connsiteY32" fmla="*/ 4634 h 10000"/>
              <a:gd name="connsiteX33" fmla="*/ 2 w 9965"/>
              <a:gd name="connsiteY33" fmla="*/ 5817 h 10000"/>
              <a:gd name="connsiteX34" fmla="*/ 663 w 9965"/>
              <a:gd name="connsiteY34" fmla="*/ 7659 h 10000"/>
              <a:gd name="connsiteX35" fmla="*/ 830 w 9965"/>
              <a:gd name="connsiteY35" fmla="*/ 8085 h 10000"/>
              <a:gd name="connsiteX36" fmla="*/ 830 w 9965"/>
              <a:gd name="connsiteY36" fmla="*/ 10000 h 10000"/>
              <a:gd name="connsiteX37" fmla="*/ 905 w 9965"/>
              <a:gd name="connsiteY37" fmla="*/ 10000 h 10000"/>
              <a:gd name="connsiteX38" fmla="*/ 905 w 9965"/>
              <a:gd name="connsiteY38" fmla="*/ 7829 h 10000"/>
              <a:gd name="connsiteX39" fmla="*/ 960 w 9965"/>
              <a:gd name="connsiteY39" fmla="*/ 7720 h 10000"/>
              <a:gd name="connsiteX40" fmla="*/ 1826 w 9965"/>
              <a:gd name="connsiteY40" fmla="*/ 6098 h 10000"/>
              <a:gd name="connsiteX41" fmla="*/ 1826 w 9965"/>
              <a:gd name="connsiteY41" fmla="*/ 5720 h 10000"/>
              <a:gd name="connsiteX42" fmla="*/ 1931 w 9965"/>
              <a:gd name="connsiteY42" fmla="*/ 5293 h 10000"/>
              <a:gd name="connsiteX43" fmla="*/ 1975 w 9965"/>
              <a:gd name="connsiteY43" fmla="*/ 5244 h 10000"/>
              <a:gd name="connsiteX44" fmla="*/ 2253 w 9965"/>
              <a:gd name="connsiteY44" fmla="*/ 5329 h 10000"/>
              <a:gd name="connsiteX45" fmla="*/ 2933 w 9965"/>
              <a:gd name="connsiteY45" fmla="*/ 5915 h 10000"/>
              <a:gd name="connsiteX46" fmla="*/ 3607 w 9965"/>
              <a:gd name="connsiteY46" fmla="*/ 5329 h 10000"/>
              <a:gd name="connsiteX47" fmla="*/ 3923 w 9965"/>
              <a:gd name="connsiteY47" fmla="*/ 5244 h 10000"/>
              <a:gd name="connsiteX48" fmla="*/ 3972 w 9965"/>
              <a:gd name="connsiteY48" fmla="*/ 5293 h 10000"/>
              <a:gd name="connsiteX49" fmla="*/ 4102 w 9965"/>
              <a:gd name="connsiteY49" fmla="*/ 5768 h 10000"/>
              <a:gd name="connsiteX50" fmla="*/ 4096 w 9965"/>
              <a:gd name="connsiteY50" fmla="*/ 6037 h 10000"/>
              <a:gd name="connsiteX51" fmla="*/ 4795 w 9965"/>
              <a:gd name="connsiteY51" fmla="*/ 7671 h 10000"/>
              <a:gd name="connsiteX52" fmla="*/ 4912 w 9965"/>
              <a:gd name="connsiteY52" fmla="*/ 7976 h 10000"/>
              <a:gd name="connsiteX53" fmla="*/ 4912 w 9965"/>
              <a:gd name="connsiteY53" fmla="*/ 10000 h 10000"/>
              <a:gd name="connsiteX54" fmla="*/ 4986 w 9965"/>
              <a:gd name="connsiteY54" fmla="*/ 10000 h 10000"/>
              <a:gd name="connsiteX55" fmla="*/ 4986 w 9965"/>
              <a:gd name="connsiteY55" fmla="*/ 7829 h 10000"/>
              <a:gd name="connsiteX56" fmla="*/ 5042 w 9965"/>
              <a:gd name="connsiteY56" fmla="*/ 7720 h 10000"/>
              <a:gd name="connsiteX57" fmla="*/ 5926 w 9965"/>
              <a:gd name="connsiteY57" fmla="*/ 5915 h 10000"/>
              <a:gd name="connsiteX58" fmla="*/ 5920 w 9965"/>
              <a:gd name="connsiteY58" fmla="*/ 5732 h 10000"/>
              <a:gd name="connsiteX59" fmla="*/ 6031 w 9965"/>
              <a:gd name="connsiteY59" fmla="*/ 5305 h 10000"/>
              <a:gd name="connsiteX60" fmla="*/ 6081 w 9965"/>
              <a:gd name="connsiteY60" fmla="*/ 5256 h 10000"/>
              <a:gd name="connsiteX61" fmla="*/ 6353 w 9965"/>
              <a:gd name="connsiteY61" fmla="*/ 5329 h 10000"/>
              <a:gd name="connsiteX62" fmla="*/ 7027 w 9965"/>
              <a:gd name="connsiteY62" fmla="*/ 5915 h 10000"/>
              <a:gd name="connsiteX63" fmla="*/ 7714 w 9965"/>
              <a:gd name="connsiteY63" fmla="*/ 5305 h 10000"/>
              <a:gd name="connsiteX64" fmla="*/ 8004 w 9965"/>
              <a:gd name="connsiteY64" fmla="*/ 5207 h 10000"/>
              <a:gd name="connsiteX65" fmla="*/ 8023 w 9965"/>
              <a:gd name="connsiteY65" fmla="*/ 5232 h 10000"/>
              <a:gd name="connsiteX66" fmla="*/ 8140 w 9965"/>
              <a:gd name="connsiteY66" fmla="*/ 5683 h 10000"/>
              <a:gd name="connsiteX67" fmla="*/ 8140 w 9965"/>
              <a:gd name="connsiteY67" fmla="*/ 6134 h 10000"/>
              <a:gd name="connsiteX68" fmla="*/ 8938 w 9965"/>
              <a:gd name="connsiteY68" fmla="*/ 7707 h 10000"/>
              <a:gd name="connsiteX69" fmla="*/ 8981 w 9965"/>
              <a:gd name="connsiteY69" fmla="*/ 7817 h 10000"/>
              <a:gd name="connsiteX70" fmla="*/ 8981 w 9965"/>
              <a:gd name="connsiteY70" fmla="*/ 10000 h 10000"/>
              <a:gd name="connsiteX71" fmla="*/ 9062 w 9965"/>
              <a:gd name="connsiteY71" fmla="*/ 10000 h 10000"/>
              <a:gd name="connsiteX72" fmla="*/ 9062 w 9965"/>
              <a:gd name="connsiteY72" fmla="*/ 8000 h 10000"/>
              <a:gd name="connsiteX73" fmla="*/ 9192 w 9965"/>
              <a:gd name="connsiteY73" fmla="*/ 7707 h 10000"/>
              <a:gd name="connsiteX74" fmla="*/ 9965 w 9965"/>
              <a:gd name="connsiteY74" fmla="*/ 5854 h 10000"/>
              <a:gd name="connsiteX0" fmla="*/ 9335 w 9335"/>
              <a:gd name="connsiteY0" fmla="*/ 5854 h 10000"/>
              <a:gd name="connsiteX1" fmla="*/ 8453 w 9335"/>
              <a:gd name="connsiteY1" fmla="*/ 4122 h 10000"/>
              <a:gd name="connsiteX2" fmla="*/ 7708 w 9335"/>
              <a:gd name="connsiteY2" fmla="*/ 4768 h 10000"/>
              <a:gd name="connsiteX3" fmla="*/ 7411 w 9335"/>
              <a:gd name="connsiteY3" fmla="*/ 4878 h 10000"/>
              <a:gd name="connsiteX4" fmla="*/ 7404 w 9335"/>
              <a:gd name="connsiteY4" fmla="*/ 4866 h 10000"/>
              <a:gd name="connsiteX5" fmla="*/ 7293 w 9335"/>
              <a:gd name="connsiteY5" fmla="*/ 4415 h 10000"/>
              <a:gd name="connsiteX6" fmla="*/ 7305 w 9335"/>
              <a:gd name="connsiteY6" fmla="*/ 3939 h 10000"/>
              <a:gd name="connsiteX7" fmla="*/ 6449 w 9335"/>
              <a:gd name="connsiteY7" fmla="*/ 2317 h 10000"/>
              <a:gd name="connsiteX8" fmla="*/ 6424 w 9335"/>
              <a:gd name="connsiteY8" fmla="*/ 2317 h 10000"/>
              <a:gd name="connsiteX9" fmla="*/ 6424 w 9335"/>
              <a:gd name="connsiteY9" fmla="*/ 0 h 10000"/>
              <a:gd name="connsiteX10" fmla="*/ 6344 w 9335"/>
              <a:gd name="connsiteY10" fmla="*/ 0 h 10000"/>
              <a:gd name="connsiteX11" fmla="*/ 6344 w 9335"/>
              <a:gd name="connsiteY11" fmla="*/ 1854 h 10000"/>
              <a:gd name="connsiteX12" fmla="*/ 6151 w 9335"/>
              <a:gd name="connsiteY12" fmla="*/ 2366 h 10000"/>
              <a:gd name="connsiteX13" fmla="*/ 5468 w 9335"/>
              <a:gd name="connsiteY13" fmla="*/ 4110 h 10000"/>
              <a:gd name="connsiteX14" fmla="*/ 5487 w 9335"/>
              <a:gd name="connsiteY14" fmla="*/ 4463 h 10000"/>
              <a:gd name="connsiteX15" fmla="*/ 5381 w 9335"/>
              <a:gd name="connsiteY15" fmla="*/ 4939 h 10000"/>
              <a:gd name="connsiteX16" fmla="*/ 5096 w 9335"/>
              <a:gd name="connsiteY16" fmla="*/ 4829 h 10000"/>
              <a:gd name="connsiteX17" fmla="*/ 4364 w 9335"/>
              <a:gd name="connsiteY17" fmla="*/ 4110 h 10000"/>
              <a:gd name="connsiteX18" fmla="*/ 3650 w 9335"/>
              <a:gd name="connsiteY18" fmla="*/ 4793 h 10000"/>
              <a:gd name="connsiteX19" fmla="*/ 3321 w 9335"/>
              <a:gd name="connsiteY19" fmla="*/ 4915 h 10000"/>
              <a:gd name="connsiteX20" fmla="*/ 3309 w 9335"/>
              <a:gd name="connsiteY20" fmla="*/ 4902 h 10000"/>
              <a:gd name="connsiteX21" fmla="*/ 3184 w 9335"/>
              <a:gd name="connsiteY21" fmla="*/ 4402 h 10000"/>
              <a:gd name="connsiteX22" fmla="*/ 3190 w 9335"/>
              <a:gd name="connsiteY22" fmla="*/ 3951 h 10000"/>
              <a:gd name="connsiteX23" fmla="*/ 2334 w 9335"/>
              <a:gd name="connsiteY23" fmla="*/ 2317 h 10000"/>
              <a:gd name="connsiteX24" fmla="*/ 2334 w 9335"/>
              <a:gd name="connsiteY24" fmla="*/ 2317 h 10000"/>
              <a:gd name="connsiteX25" fmla="*/ 2334 w 9335"/>
              <a:gd name="connsiteY25" fmla="*/ 0 h 10000"/>
              <a:gd name="connsiteX26" fmla="*/ 2260 w 9335"/>
              <a:gd name="connsiteY26" fmla="*/ 0 h 10000"/>
              <a:gd name="connsiteX27" fmla="*/ 2260 w 9335"/>
              <a:gd name="connsiteY27" fmla="*/ 1841 h 10000"/>
              <a:gd name="connsiteX28" fmla="*/ 2048 w 9335"/>
              <a:gd name="connsiteY28" fmla="*/ 2366 h 10000"/>
              <a:gd name="connsiteX29" fmla="*/ 1360 w 9335"/>
              <a:gd name="connsiteY29" fmla="*/ 4110 h 10000"/>
              <a:gd name="connsiteX30" fmla="*/ 1391 w 9335"/>
              <a:gd name="connsiteY30" fmla="*/ 4598 h 10000"/>
              <a:gd name="connsiteX31" fmla="*/ 1267 w 9335"/>
              <a:gd name="connsiteY31" fmla="*/ 4927 h 10000"/>
              <a:gd name="connsiteX32" fmla="*/ 894 w 9335"/>
              <a:gd name="connsiteY32" fmla="*/ 4634 h 10000"/>
              <a:gd name="connsiteX33" fmla="*/ 0 w 9335"/>
              <a:gd name="connsiteY33" fmla="*/ 7659 h 10000"/>
              <a:gd name="connsiteX34" fmla="*/ 168 w 9335"/>
              <a:gd name="connsiteY34" fmla="*/ 8085 h 10000"/>
              <a:gd name="connsiteX35" fmla="*/ 168 w 9335"/>
              <a:gd name="connsiteY35" fmla="*/ 10000 h 10000"/>
              <a:gd name="connsiteX36" fmla="*/ 243 w 9335"/>
              <a:gd name="connsiteY36" fmla="*/ 10000 h 10000"/>
              <a:gd name="connsiteX37" fmla="*/ 243 w 9335"/>
              <a:gd name="connsiteY37" fmla="*/ 7829 h 10000"/>
              <a:gd name="connsiteX38" fmla="*/ 298 w 9335"/>
              <a:gd name="connsiteY38" fmla="*/ 7720 h 10000"/>
              <a:gd name="connsiteX39" fmla="*/ 1167 w 9335"/>
              <a:gd name="connsiteY39" fmla="*/ 6098 h 10000"/>
              <a:gd name="connsiteX40" fmla="*/ 1167 w 9335"/>
              <a:gd name="connsiteY40" fmla="*/ 5720 h 10000"/>
              <a:gd name="connsiteX41" fmla="*/ 1273 w 9335"/>
              <a:gd name="connsiteY41" fmla="*/ 5293 h 10000"/>
              <a:gd name="connsiteX42" fmla="*/ 1317 w 9335"/>
              <a:gd name="connsiteY42" fmla="*/ 5244 h 10000"/>
              <a:gd name="connsiteX43" fmla="*/ 1596 w 9335"/>
              <a:gd name="connsiteY43" fmla="*/ 5329 h 10000"/>
              <a:gd name="connsiteX44" fmla="*/ 2278 w 9335"/>
              <a:gd name="connsiteY44" fmla="*/ 5915 h 10000"/>
              <a:gd name="connsiteX45" fmla="*/ 2955 w 9335"/>
              <a:gd name="connsiteY45" fmla="*/ 5329 h 10000"/>
              <a:gd name="connsiteX46" fmla="*/ 3272 w 9335"/>
              <a:gd name="connsiteY46" fmla="*/ 5244 h 10000"/>
              <a:gd name="connsiteX47" fmla="*/ 3321 w 9335"/>
              <a:gd name="connsiteY47" fmla="*/ 5293 h 10000"/>
              <a:gd name="connsiteX48" fmla="*/ 3451 w 9335"/>
              <a:gd name="connsiteY48" fmla="*/ 5768 h 10000"/>
              <a:gd name="connsiteX49" fmla="*/ 3445 w 9335"/>
              <a:gd name="connsiteY49" fmla="*/ 6037 h 10000"/>
              <a:gd name="connsiteX50" fmla="*/ 4147 w 9335"/>
              <a:gd name="connsiteY50" fmla="*/ 7671 h 10000"/>
              <a:gd name="connsiteX51" fmla="*/ 4264 w 9335"/>
              <a:gd name="connsiteY51" fmla="*/ 7976 h 10000"/>
              <a:gd name="connsiteX52" fmla="*/ 4264 w 9335"/>
              <a:gd name="connsiteY52" fmla="*/ 10000 h 10000"/>
              <a:gd name="connsiteX53" fmla="*/ 4339 w 9335"/>
              <a:gd name="connsiteY53" fmla="*/ 10000 h 10000"/>
              <a:gd name="connsiteX54" fmla="*/ 4339 w 9335"/>
              <a:gd name="connsiteY54" fmla="*/ 7829 h 10000"/>
              <a:gd name="connsiteX55" fmla="*/ 4395 w 9335"/>
              <a:gd name="connsiteY55" fmla="*/ 7720 h 10000"/>
              <a:gd name="connsiteX56" fmla="*/ 5282 w 9335"/>
              <a:gd name="connsiteY56" fmla="*/ 5915 h 10000"/>
              <a:gd name="connsiteX57" fmla="*/ 5276 w 9335"/>
              <a:gd name="connsiteY57" fmla="*/ 5732 h 10000"/>
              <a:gd name="connsiteX58" fmla="*/ 5387 w 9335"/>
              <a:gd name="connsiteY58" fmla="*/ 5305 h 10000"/>
              <a:gd name="connsiteX59" fmla="*/ 5437 w 9335"/>
              <a:gd name="connsiteY59" fmla="*/ 5256 h 10000"/>
              <a:gd name="connsiteX60" fmla="*/ 5710 w 9335"/>
              <a:gd name="connsiteY60" fmla="*/ 5329 h 10000"/>
              <a:gd name="connsiteX61" fmla="*/ 6387 w 9335"/>
              <a:gd name="connsiteY61" fmla="*/ 5915 h 10000"/>
              <a:gd name="connsiteX62" fmla="*/ 7076 w 9335"/>
              <a:gd name="connsiteY62" fmla="*/ 5305 h 10000"/>
              <a:gd name="connsiteX63" fmla="*/ 7367 w 9335"/>
              <a:gd name="connsiteY63" fmla="*/ 5207 h 10000"/>
              <a:gd name="connsiteX64" fmla="*/ 7386 w 9335"/>
              <a:gd name="connsiteY64" fmla="*/ 5232 h 10000"/>
              <a:gd name="connsiteX65" fmla="*/ 7504 w 9335"/>
              <a:gd name="connsiteY65" fmla="*/ 5683 h 10000"/>
              <a:gd name="connsiteX66" fmla="*/ 7504 w 9335"/>
              <a:gd name="connsiteY66" fmla="*/ 6134 h 10000"/>
              <a:gd name="connsiteX67" fmla="*/ 8304 w 9335"/>
              <a:gd name="connsiteY67" fmla="*/ 7707 h 10000"/>
              <a:gd name="connsiteX68" fmla="*/ 8348 w 9335"/>
              <a:gd name="connsiteY68" fmla="*/ 7817 h 10000"/>
              <a:gd name="connsiteX69" fmla="*/ 8348 w 9335"/>
              <a:gd name="connsiteY69" fmla="*/ 10000 h 10000"/>
              <a:gd name="connsiteX70" fmla="*/ 8429 w 9335"/>
              <a:gd name="connsiteY70" fmla="*/ 10000 h 10000"/>
              <a:gd name="connsiteX71" fmla="*/ 8429 w 9335"/>
              <a:gd name="connsiteY71" fmla="*/ 8000 h 10000"/>
              <a:gd name="connsiteX72" fmla="*/ 8559 w 9335"/>
              <a:gd name="connsiteY72" fmla="*/ 7707 h 10000"/>
              <a:gd name="connsiteX73" fmla="*/ 9335 w 9335"/>
              <a:gd name="connsiteY73" fmla="*/ 5854 h 10000"/>
              <a:gd name="connsiteX0" fmla="*/ 9878 w 9878"/>
              <a:gd name="connsiteY0" fmla="*/ 5854 h 10000"/>
              <a:gd name="connsiteX1" fmla="*/ 8933 w 9878"/>
              <a:gd name="connsiteY1" fmla="*/ 4122 h 10000"/>
              <a:gd name="connsiteX2" fmla="*/ 8135 w 9878"/>
              <a:gd name="connsiteY2" fmla="*/ 4768 h 10000"/>
              <a:gd name="connsiteX3" fmla="*/ 7817 w 9878"/>
              <a:gd name="connsiteY3" fmla="*/ 4878 h 10000"/>
              <a:gd name="connsiteX4" fmla="*/ 7809 w 9878"/>
              <a:gd name="connsiteY4" fmla="*/ 4866 h 10000"/>
              <a:gd name="connsiteX5" fmla="*/ 7691 w 9878"/>
              <a:gd name="connsiteY5" fmla="*/ 4415 h 10000"/>
              <a:gd name="connsiteX6" fmla="*/ 7703 w 9878"/>
              <a:gd name="connsiteY6" fmla="*/ 3939 h 10000"/>
              <a:gd name="connsiteX7" fmla="*/ 6786 w 9878"/>
              <a:gd name="connsiteY7" fmla="*/ 2317 h 10000"/>
              <a:gd name="connsiteX8" fmla="*/ 6760 w 9878"/>
              <a:gd name="connsiteY8" fmla="*/ 2317 h 10000"/>
              <a:gd name="connsiteX9" fmla="*/ 6760 w 9878"/>
              <a:gd name="connsiteY9" fmla="*/ 0 h 10000"/>
              <a:gd name="connsiteX10" fmla="*/ 6674 w 9878"/>
              <a:gd name="connsiteY10" fmla="*/ 0 h 10000"/>
              <a:gd name="connsiteX11" fmla="*/ 6674 w 9878"/>
              <a:gd name="connsiteY11" fmla="*/ 1854 h 10000"/>
              <a:gd name="connsiteX12" fmla="*/ 6467 w 9878"/>
              <a:gd name="connsiteY12" fmla="*/ 2366 h 10000"/>
              <a:gd name="connsiteX13" fmla="*/ 5736 w 9878"/>
              <a:gd name="connsiteY13" fmla="*/ 4110 h 10000"/>
              <a:gd name="connsiteX14" fmla="*/ 5756 w 9878"/>
              <a:gd name="connsiteY14" fmla="*/ 4463 h 10000"/>
              <a:gd name="connsiteX15" fmla="*/ 5642 w 9878"/>
              <a:gd name="connsiteY15" fmla="*/ 4939 h 10000"/>
              <a:gd name="connsiteX16" fmla="*/ 5337 w 9878"/>
              <a:gd name="connsiteY16" fmla="*/ 4829 h 10000"/>
              <a:gd name="connsiteX17" fmla="*/ 4553 w 9878"/>
              <a:gd name="connsiteY17" fmla="*/ 4110 h 10000"/>
              <a:gd name="connsiteX18" fmla="*/ 3788 w 9878"/>
              <a:gd name="connsiteY18" fmla="*/ 4793 h 10000"/>
              <a:gd name="connsiteX19" fmla="*/ 3436 w 9878"/>
              <a:gd name="connsiteY19" fmla="*/ 4915 h 10000"/>
              <a:gd name="connsiteX20" fmla="*/ 3423 w 9878"/>
              <a:gd name="connsiteY20" fmla="*/ 4902 h 10000"/>
              <a:gd name="connsiteX21" fmla="*/ 3289 w 9878"/>
              <a:gd name="connsiteY21" fmla="*/ 4402 h 10000"/>
              <a:gd name="connsiteX22" fmla="*/ 3295 w 9878"/>
              <a:gd name="connsiteY22" fmla="*/ 3951 h 10000"/>
              <a:gd name="connsiteX23" fmla="*/ 2378 w 9878"/>
              <a:gd name="connsiteY23" fmla="*/ 2317 h 10000"/>
              <a:gd name="connsiteX24" fmla="*/ 2378 w 9878"/>
              <a:gd name="connsiteY24" fmla="*/ 2317 h 10000"/>
              <a:gd name="connsiteX25" fmla="*/ 2378 w 9878"/>
              <a:gd name="connsiteY25" fmla="*/ 0 h 10000"/>
              <a:gd name="connsiteX26" fmla="*/ 2299 w 9878"/>
              <a:gd name="connsiteY26" fmla="*/ 0 h 10000"/>
              <a:gd name="connsiteX27" fmla="*/ 2299 w 9878"/>
              <a:gd name="connsiteY27" fmla="*/ 1841 h 10000"/>
              <a:gd name="connsiteX28" fmla="*/ 2072 w 9878"/>
              <a:gd name="connsiteY28" fmla="*/ 2366 h 10000"/>
              <a:gd name="connsiteX29" fmla="*/ 1335 w 9878"/>
              <a:gd name="connsiteY29" fmla="*/ 4110 h 10000"/>
              <a:gd name="connsiteX30" fmla="*/ 1368 w 9878"/>
              <a:gd name="connsiteY30" fmla="*/ 4598 h 10000"/>
              <a:gd name="connsiteX31" fmla="*/ 1235 w 9878"/>
              <a:gd name="connsiteY31" fmla="*/ 4927 h 10000"/>
              <a:gd name="connsiteX32" fmla="*/ 836 w 9878"/>
              <a:gd name="connsiteY32" fmla="*/ 4634 h 10000"/>
              <a:gd name="connsiteX33" fmla="*/ 58 w 9878"/>
              <a:gd name="connsiteY33" fmla="*/ 8085 h 10000"/>
              <a:gd name="connsiteX34" fmla="*/ 58 w 9878"/>
              <a:gd name="connsiteY34" fmla="*/ 10000 h 10000"/>
              <a:gd name="connsiteX35" fmla="*/ 138 w 9878"/>
              <a:gd name="connsiteY35" fmla="*/ 10000 h 10000"/>
              <a:gd name="connsiteX36" fmla="*/ 138 w 9878"/>
              <a:gd name="connsiteY36" fmla="*/ 7829 h 10000"/>
              <a:gd name="connsiteX37" fmla="*/ 197 w 9878"/>
              <a:gd name="connsiteY37" fmla="*/ 7720 h 10000"/>
              <a:gd name="connsiteX38" fmla="*/ 1128 w 9878"/>
              <a:gd name="connsiteY38" fmla="*/ 6098 h 10000"/>
              <a:gd name="connsiteX39" fmla="*/ 1128 w 9878"/>
              <a:gd name="connsiteY39" fmla="*/ 5720 h 10000"/>
              <a:gd name="connsiteX40" fmla="*/ 1242 w 9878"/>
              <a:gd name="connsiteY40" fmla="*/ 5293 h 10000"/>
              <a:gd name="connsiteX41" fmla="*/ 1289 w 9878"/>
              <a:gd name="connsiteY41" fmla="*/ 5244 h 10000"/>
              <a:gd name="connsiteX42" fmla="*/ 1588 w 9878"/>
              <a:gd name="connsiteY42" fmla="*/ 5329 h 10000"/>
              <a:gd name="connsiteX43" fmla="*/ 2318 w 9878"/>
              <a:gd name="connsiteY43" fmla="*/ 5915 h 10000"/>
              <a:gd name="connsiteX44" fmla="*/ 3044 w 9878"/>
              <a:gd name="connsiteY44" fmla="*/ 5329 h 10000"/>
              <a:gd name="connsiteX45" fmla="*/ 3383 w 9878"/>
              <a:gd name="connsiteY45" fmla="*/ 5244 h 10000"/>
              <a:gd name="connsiteX46" fmla="*/ 3436 w 9878"/>
              <a:gd name="connsiteY46" fmla="*/ 5293 h 10000"/>
              <a:gd name="connsiteX47" fmla="*/ 3575 w 9878"/>
              <a:gd name="connsiteY47" fmla="*/ 5768 h 10000"/>
              <a:gd name="connsiteX48" fmla="*/ 3568 w 9878"/>
              <a:gd name="connsiteY48" fmla="*/ 6037 h 10000"/>
              <a:gd name="connsiteX49" fmla="*/ 4320 w 9878"/>
              <a:gd name="connsiteY49" fmla="*/ 7671 h 10000"/>
              <a:gd name="connsiteX50" fmla="*/ 4446 w 9878"/>
              <a:gd name="connsiteY50" fmla="*/ 7976 h 10000"/>
              <a:gd name="connsiteX51" fmla="*/ 4446 w 9878"/>
              <a:gd name="connsiteY51" fmla="*/ 10000 h 10000"/>
              <a:gd name="connsiteX52" fmla="*/ 4526 w 9878"/>
              <a:gd name="connsiteY52" fmla="*/ 10000 h 10000"/>
              <a:gd name="connsiteX53" fmla="*/ 4526 w 9878"/>
              <a:gd name="connsiteY53" fmla="*/ 7829 h 10000"/>
              <a:gd name="connsiteX54" fmla="*/ 4586 w 9878"/>
              <a:gd name="connsiteY54" fmla="*/ 7720 h 10000"/>
              <a:gd name="connsiteX55" fmla="*/ 5536 w 9878"/>
              <a:gd name="connsiteY55" fmla="*/ 5915 h 10000"/>
              <a:gd name="connsiteX56" fmla="*/ 5530 w 9878"/>
              <a:gd name="connsiteY56" fmla="*/ 5732 h 10000"/>
              <a:gd name="connsiteX57" fmla="*/ 5649 w 9878"/>
              <a:gd name="connsiteY57" fmla="*/ 5305 h 10000"/>
              <a:gd name="connsiteX58" fmla="*/ 5702 w 9878"/>
              <a:gd name="connsiteY58" fmla="*/ 5256 h 10000"/>
              <a:gd name="connsiteX59" fmla="*/ 5995 w 9878"/>
              <a:gd name="connsiteY59" fmla="*/ 5329 h 10000"/>
              <a:gd name="connsiteX60" fmla="*/ 6720 w 9878"/>
              <a:gd name="connsiteY60" fmla="*/ 5915 h 10000"/>
              <a:gd name="connsiteX61" fmla="*/ 7458 w 9878"/>
              <a:gd name="connsiteY61" fmla="*/ 5305 h 10000"/>
              <a:gd name="connsiteX62" fmla="*/ 7770 w 9878"/>
              <a:gd name="connsiteY62" fmla="*/ 5207 h 10000"/>
              <a:gd name="connsiteX63" fmla="*/ 7790 w 9878"/>
              <a:gd name="connsiteY63" fmla="*/ 5232 h 10000"/>
              <a:gd name="connsiteX64" fmla="*/ 7917 w 9878"/>
              <a:gd name="connsiteY64" fmla="*/ 5683 h 10000"/>
              <a:gd name="connsiteX65" fmla="*/ 7917 w 9878"/>
              <a:gd name="connsiteY65" fmla="*/ 6134 h 10000"/>
              <a:gd name="connsiteX66" fmla="*/ 8774 w 9878"/>
              <a:gd name="connsiteY66" fmla="*/ 7707 h 10000"/>
              <a:gd name="connsiteX67" fmla="*/ 8821 w 9878"/>
              <a:gd name="connsiteY67" fmla="*/ 7817 h 10000"/>
              <a:gd name="connsiteX68" fmla="*/ 8821 w 9878"/>
              <a:gd name="connsiteY68" fmla="*/ 10000 h 10000"/>
              <a:gd name="connsiteX69" fmla="*/ 8907 w 9878"/>
              <a:gd name="connsiteY69" fmla="*/ 10000 h 10000"/>
              <a:gd name="connsiteX70" fmla="*/ 8907 w 9878"/>
              <a:gd name="connsiteY70" fmla="*/ 8000 h 10000"/>
              <a:gd name="connsiteX71" fmla="*/ 9047 w 9878"/>
              <a:gd name="connsiteY71" fmla="*/ 7707 h 10000"/>
              <a:gd name="connsiteX72" fmla="*/ 9878 w 9878"/>
              <a:gd name="connsiteY72" fmla="*/ 5854 h 10000"/>
              <a:gd name="connsiteX0" fmla="*/ 10000 w 10000"/>
              <a:gd name="connsiteY0" fmla="*/ 5854 h 10000"/>
              <a:gd name="connsiteX1" fmla="*/ 9043 w 10000"/>
              <a:gd name="connsiteY1" fmla="*/ 4122 h 10000"/>
              <a:gd name="connsiteX2" fmla="*/ 8235 w 10000"/>
              <a:gd name="connsiteY2" fmla="*/ 4768 h 10000"/>
              <a:gd name="connsiteX3" fmla="*/ 7914 w 10000"/>
              <a:gd name="connsiteY3" fmla="*/ 4878 h 10000"/>
              <a:gd name="connsiteX4" fmla="*/ 7905 w 10000"/>
              <a:gd name="connsiteY4" fmla="*/ 4866 h 10000"/>
              <a:gd name="connsiteX5" fmla="*/ 7786 w 10000"/>
              <a:gd name="connsiteY5" fmla="*/ 4415 h 10000"/>
              <a:gd name="connsiteX6" fmla="*/ 7798 w 10000"/>
              <a:gd name="connsiteY6" fmla="*/ 3939 h 10000"/>
              <a:gd name="connsiteX7" fmla="*/ 6870 w 10000"/>
              <a:gd name="connsiteY7" fmla="*/ 2317 h 10000"/>
              <a:gd name="connsiteX8" fmla="*/ 6843 w 10000"/>
              <a:gd name="connsiteY8" fmla="*/ 2317 h 10000"/>
              <a:gd name="connsiteX9" fmla="*/ 6843 w 10000"/>
              <a:gd name="connsiteY9" fmla="*/ 0 h 10000"/>
              <a:gd name="connsiteX10" fmla="*/ 6756 w 10000"/>
              <a:gd name="connsiteY10" fmla="*/ 0 h 10000"/>
              <a:gd name="connsiteX11" fmla="*/ 6756 w 10000"/>
              <a:gd name="connsiteY11" fmla="*/ 1854 h 10000"/>
              <a:gd name="connsiteX12" fmla="*/ 6547 w 10000"/>
              <a:gd name="connsiteY12" fmla="*/ 2366 h 10000"/>
              <a:gd name="connsiteX13" fmla="*/ 5807 w 10000"/>
              <a:gd name="connsiteY13" fmla="*/ 4110 h 10000"/>
              <a:gd name="connsiteX14" fmla="*/ 5827 w 10000"/>
              <a:gd name="connsiteY14" fmla="*/ 4463 h 10000"/>
              <a:gd name="connsiteX15" fmla="*/ 5712 w 10000"/>
              <a:gd name="connsiteY15" fmla="*/ 4939 h 10000"/>
              <a:gd name="connsiteX16" fmla="*/ 5403 w 10000"/>
              <a:gd name="connsiteY16" fmla="*/ 4829 h 10000"/>
              <a:gd name="connsiteX17" fmla="*/ 4609 w 10000"/>
              <a:gd name="connsiteY17" fmla="*/ 4110 h 10000"/>
              <a:gd name="connsiteX18" fmla="*/ 3835 w 10000"/>
              <a:gd name="connsiteY18" fmla="*/ 4793 h 10000"/>
              <a:gd name="connsiteX19" fmla="*/ 3478 w 10000"/>
              <a:gd name="connsiteY19" fmla="*/ 4915 h 10000"/>
              <a:gd name="connsiteX20" fmla="*/ 3465 w 10000"/>
              <a:gd name="connsiteY20" fmla="*/ 4902 h 10000"/>
              <a:gd name="connsiteX21" fmla="*/ 3330 w 10000"/>
              <a:gd name="connsiteY21" fmla="*/ 4402 h 10000"/>
              <a:gd name="connsiteX22" fmla="*/ 3336 w 10000"/>
              <a:gd name="connsiteY22" fmla="*/ 3951 h 10000"/>
              <a:gd name="connsiteX23" fmla="*/ 2407 w 10000"/>
              <a:gd name="connsiteY23" fmla="*/ 2317 h 10000"/>
              <a:gd name="connsiteX24" fmla="*/ 2407 w 10000"/>
              <a:gd name="connsiteY24" fmla="*/ 2317 h 10000"/>
              <a:gd name="connsiteX25" fmla="*/ 2407 w 10000"/>
              <a:gd name="connsiteY25" fmla="*/ 0 h 10000"/>
              <a:gd name="connsiteX26" fmla="*/ 2327 w 10000"/>
              <a:gd name="connsiteY26" fmla="*/ 0 h 10000"/>
              <a:gd name="connsiteX27" fmla="*/ 2327 w 10000"/>
              <a:gd name="connsiteY27" fmla="*/ 1841 h 10000"/>
              <a:gd name="connsiteX28" fmla="*/ 2098 w 10000"/>
              <a:gd name="connsiteY28" fmla="*/ 2366 h 10000"/>
              <a:gd name="connsiteX29" fmla="*/ 1351 w 10000"/>
              <a:gd name="connsiteY29" fmla="*/ 4110 h 10000"/>
              <a:gd name="connsiteX30" fmla="*/ 1385 w 10000"/>
              <a:gd name="connsiteY30" fmla="*/ 4598 h 10000"/>
              <a:gd name="connsiteX31" fmla="*/ 1250 w 10000"/>
              <a:gd name="connsiteY31" fmla="*/ 4927 h 10000"/>
              <a:gd name="connsiteX32" fmla="*/ 846 w 10000"/>
              <a:gd name="connsiteY32" fmla="*/ 4634 h 10000"/>
              <a:gd name="connsiteX33" fmla="*/ 59 w 10000"/>
              <a:gd name="connsiteY33" fmla="*/ 8085 h 10000"/>
              <a:gd name="connsiteX34" fmla="*/ 59 w 10000"/>
              <a:gd name="connsiteY34" fmla="*/ 10000 h 10000"/>
              <a:gd name="connsiteX35" fmla="*/ 140 w 10000"/>
              <a:gd name="connsiteY35" fmla="*/ 10000 h 10000"/>
              <a:gd name="connsiteX36" fmla="*/ 140 w 10000"/>
              <a:gd name="connsiteY36" fmla="*/ 7829 h 10000"/>
              <a:gd name="connsiteX37" fmla="*/ 1142 w 10000"/>
              <a:gd name="connsiteY37" fmla="*/ 6098 h 10000"/>
              <a:gd name="connsiteX38" fmla="*/ 1142 w 10000"/>
              <a:gd name="connsiteY38" fmla="*/ 5720 h 10000"/>
              <a:gd name="connsiteX39" fmla="*/ 1257 w 10000"/>
              <a:gd name="connsiteY39" fmla="*/ 5293 h 10000"/>
              <a:gd name="connsiteX40" fmla="*/ 1305 w 10000"/>
              <a:gd name="connsiteY40" fmla="*/ 5244 h 10000"/>
              <a:gd name="connsiteX41" fmla="*/ 1608 w 10000"/>
              <a:gd name="connsiteY41" fmla="*/ 5329 h 10000"/>
              <a:gd name="connsiteX42" fmla="*/ 2347 w 10000"/>
              <a:gd name="connsiteY42" fmla="*/ 5915 h 10000"/>
              <a:gd name="connsiteX43" fmla="*/ 3082 w 10000"/>
              <a:gd name="connsiteY43" fmla="*/ 5329 h 10000"/>
              <a:gd name="connsiteX44" fmla="*/ 3425 w 10000"/>
              <a:gd name="connsiteY44" fmla="*/ 5244 h 10000"/>
              <a:gd name="connsiteX45" fmla="*/ 3478 w 10000"/>
              <a:gd name="connsiteY45" fmla="*/ 5293 h 10000"/>
              <a:gd name="connsiteX46" fmla="*/ 3619 w 10000"/>
              <a:gd name="connsiteY46" fmla="*/ 5768 h 10000"/>
              <a:gd name="connsiteX47" fmla="*/ 3612 w 10000"/>
              <a:gd name="connsiteY47" fmla="*/ 6037 h 10000"/>
              <a:gd name="connsiteX48" fmla="*/ 4373 w 10000"/>
              <a:gd name="connsiteY48" fmla="*/ 7671 h 10000"/>
              <a:gd name="connsiteX49" fmla="*/ 4501 w 10000"/>
              <a:gd name="connsiteY49" fmla="*/ 7976 h 10000"/>
              <a:gd name="connsiteX50" fmla="*/ 4501 w 10000"/>
              <a:gd name="connsiteY50" fmla="*/ 10000 h 10000"/>
              <a:gd name="connsiteX51" fmla="*/ 4582 w 10000"/>
              <a:gd name="connsiteY51" fmla="*/ 10000 h 10000"/>
              <a:gd name="connsiteX52" fmla="*/ 4582 w 10000"/>
              <a:gd name="connsiteY52" fmla="*/ 7829 h 10000"/>
              <a:gd name="connsiteX53" fmla="*/ 4643 w 10000"/>
              <a:gd name="connsiteY53" fmla="*/ 7720 h 10000"/>
              <a:gd name="connsiteX54" fmla="*/ 5604 w 10000"/>
              <a:gd name="connsiteY54" fmla="*/ 5915 h 10000"/>
              <a:gd name="connsiteX55" fmla="*/ 5598 w 10000"/>
              <a:gd name="connsiteY55" fmla="*/ 5732 h 10000"/>
              <a:gd name="connsiteX56" fmla="*/ 5719 w 10000"/>
              <a:gd name="connsiteY56" fmla="*/ 5305 h 10000"/>
              <a:gd name="connsiteX57" fmla="*/ 5772 w 10000"/>
              <a:gd name="connsiteY57" fmla="*/ 5256 h 10000"/>
              <a:gd name="connsiteX58" fmla="*/ 6069 w 10000"/>
              <a:gd name="connsiteY58" fmla="*/ 5329 h 10000"/>
              <a:gd name="connsiteX59" fmla="*/ 6803 w 10000"/>
              <a:gd name="connsiteY59" fmla="*/ 5915 h 10000"/>
              <a:gd name="connsiteX60" fmla="*/ 7550 w 10000"/>
              <a:gd name="connsiteY60" fmla="*/ 5305 h 10000"/>
              <a:gd name="connsiteX61" fmla="*/ 7866 w 10000"/>
              <a:gd name="connsiteY61" fmla="*/ 5207 h 10000"/>
              <a:gd name="connsiteX62" fmla="*/ 7886 w 10000"/>
              <a:gd name="connsiteY62" fmla="*/ 5232 h 10000"/>
              <a:gd name="connsiteX63" fmla="*/ 8015 w 10000"/>
              <a:gd name="connsiteY63" fmla="*/ 5683 h 10000"/>
              <a:gd name="connsiteX64" fmla="*/ 8015 w 10000"/>
              <a:gd name="connsiteY64" fmla="*/ 6134 h 10000"/>
              <a:gd name="connsiteX65" fmla="*/ 8882 w 10000"/>
              <a:gd name="connsiteY65" fmla="*/ 7707 h 10000"/>
              <a:gd name="connsiteX66" fmla="*/ 8930 w 10000"/>
              <a:gd name="connsiteY66" fmla="*/ 7817 h 10000"/>
              <a:gd name="connsiteX67" fmla="*/ 8930 w 10000"/>
              <a:gd name="connsiteY67" fmla="*/ 10000 h 10000"/>
              <a:gd name="connsiteX68" fmla="*/ 9017 w 10000"/>
              <a:gd name="connsiteY68" fmla="*/ 10000 h 10000"/>
              <a:gd name="connsiteX69" fmla="*/ 9017 w 10000"/>
              <a:gd name="connsiteY69" fmla="*/ 8000 h 10000"/>
              <a:gd name="connsiteX70" fmla="*/ 9159 w 10000"/>
              <a:gd name="connsiteY70" fmla="*/ 7707 h 10000"/>
              <a:gd name="connsiteX71" fmla="*/ 10000 w 10000"/>
              <a:gd name="connsiteY71" fmla="*/ 5854 h 10000"/>
              <a:gd name="connsiteX0" fmla="*/ 10000 w 10000"/>
              <a:gd name="connsiteY0" fmla="*/ 5854 h 10288"/>
              <a:gd name="connsiteX1" fmla="*/ 9043 w 10000"/>
              <a:gd name="connsiteY1" fmla="*/ 4122 h 10288"/>
              <a:gd name="connsiteX2" fmla="*/ 8235 w 10000"/>
              <a:gd name="connsiteY2" fmla="*/ 4768 h 10288"/>
              <a:gd name="connsiteX3" fmla="*/ 7914 w 10000"/>
              <a:gd name="connsiteY3" fmla="*/ 4878 h 10288"/>
              <a:gd name="connsiteX4" fmla="*/ 7905 w 10000"/>
              <a:gd name="connsiteY4" fmla="*/ 4866 h 10288"/>
              <a:gd name="connsiteX5" fmla="*/ 7786 w 10000"/>
              <a:gd name="connsiteY5" fmla="*/ 4415 h 10288"/>
              <a:gd name="connsiteX6" fmla="*/ 7798 w 10000"/>
              <a:gd name="connsiteY6" fmla="*/ 3939 h 10288"/>
              <a:gd name="connsiteX7" fmla="*/ 6870 w 10000"/>
              <a:gd name="connsiteY7" fmla="*/ 2317 h 10288"/>
              <a:gd name="connsiteX8" fmla="*/ 6843 w 10000"/>
              <a:gd name="connsiteY8" fmla="*/ 2317 h 10288"/>
              <a:gd name="connsiteX9" fmla="*/ 6843 w 10000"/>
              <a:gd name="connsiteY9" fmla="*/ 0 h 10288"/>
              <a:gd name="connsiteX10" fmla="*/ 6756 w 10000"/>
              <a:gd name="connsiteY10" fmla="*/ 0 h 10288"/>
              <a:gd name="connsiteX11" fmla="*/ 6756 w 10000"/>
              <a:gd name="connsiteY11" fmla="*/ 1854 h 10288"/>
              <a:gd name="connsiteX12" fmla="*/ 6547 w 10000"/>
              <a:gd name="connsiteY12" fmla="*/ 2366 h 10288"/>
              <a:gd name="connsiteX13" fmla="*/ 5807 w 10000"/>
              <a:gd name="connsiteY13" fmla="*/ 4110 h 10288"/>
              <a:gd name="connsiteX14" fmla="*/ 5827 w 10000"/>
              <a:gd name="connsiteY14" fmla="*/ 4463 h 10288"/>
              <a:gd name="connsiteX15" fmla="*/ 5712 w 10000"/>
              <a:gd name="connsiteY15" fmla="*/ 4939 h 10288"/>
              <a:gd name="connsiteX16" fmla="*/ 5403 w 10000"/>
              <a:gd name="connsiteY16" fmla="*/ 4829 h 10288"/>
              <a:gd name="connsiteX17" fmla="*/ 4609 w 10000"/>
              <a:gd name="connsiteY17" fmla="*/ 4110 h 10288"/>
              <a:gd name="connsiteX18" fmla="*/ 3835 w 10000"/>
              <a:gd name="connsiteY18" fmla="*/ 4793 h 10288"/>
              <a:gd name="connsiteX19" fmla="*/ 3478 w 10000"/>
              <a:gd name="connsiteY19" fmla="*/ 4915 h 10288"/>
              <a:gd name="connsiteX20" fmla="*/ 3465 w 10000"/>
              <a:gd name="connsiteY20" fmla="*/ 4902 h 10288"/>
              <a:gd name="connsiteX21" fmla="*/ 3330 w 10000"/>
              <a:gd name="connsiteY21" fmla="*/ 4402 h 10288"/>
              <a:gd name="connsiteX22" fmla="*/ 3336 w 10000"/>
              <a:gd name="connsiteY22" fmla="*/ 3951 h 10288"/>
              <a:gd name="connsiteX23" fmla="*/ 2407 w 10000"/>
              <a:gd name="connsiteY23" fmla="*/ 2317 h 10288"/>
              <a:gd name="connsiteX24" fmla="*/ 2407 w 10000"/>
              <a:gd name="connsiteY24" fmla="*/ 2317 h 10288"/>
              <a:gd name="connsiteX25" fmla="*/ 2407 w 10000"/>
              <a:gd name="connsiteY25" fmla="*/ 0 h 10288"/>
              <a:gd name="connsiteX26" fmla="*/ 2327 w 10000"/>
              <a:gd name="connsiteY26" fmla="*/ 0 h 10288"/>
              <a:gd name="connsiteX27" fmla="*/ 2327 w 10000"/>
              <a:gd name="connsiteY27" fmla="*/ 1841 h 10288"/>
              <a:gd name="connsiteX28" fmla="*/ 2098 w 10000"/>
              <a:gd name="connsiteY28" fmla="*/ 2366 h 10288"/>
              <a:gd name="connsiteX29" fmla="*/ 1351 w 10000"/>
              <a:gd name="connsiteY29" fmla="*/ 4110 h 10288"/>
              <a:gd name="connsiteX30" fmla="*/ 1385 w 10000"/>
              <a:gd name="connsiteY30" fmla="*/ 4598 h 10288"/>
              <a:gd name="connsiteX31" fmla="*/ 1250 w 10000"/>
              <a:gd name="connsiteY31" fmla="*/ 4927 h 10288"/>
              <a:gd name="connsiteX32" fmla="*/ 846 w 10000"/>
              <a:gd name="connsiteY32" fmla="*/ 4634 h 10288"/>
              <a:gd name="connsiteX33" fmla="*/ 59 w 10000"/>
              <a:gd name="connsiteY33" fmla="*/ 8085 h 10288"/>
              <a:gd name="connsiteX34" fmla="*/ 59 w 10000"/>
              <a:gd name="connsiteY34" fmla="*/ 10000 h 10288"/>
              <a:gd name="connsiteX35" fmla="*/ 140 w 10000"/>
              <a:gd name="connsiteY35" fmla="*/ 10000 h 10288"/>
              <a:gd name="connsiteX36" fmla="*/ 1142 w 10000"/>
              <a:gd name="connsiteY36" fmla="*/ 6098 h 10288"/>
              <a:gd name="connsiteX37" fmla="*/ 1142 w 10000"/>
              <a:gd name="connsiteY37" fmla="*/ 5720 h 10288"/>
              <a:gd name="connsiteX38" fmla="*/ 1257 w 10000"/>
              <a:gd name="connsiteY38" fmla="*/ 5293 h 10288"/>
              <a:gd name="connsiteX39" fmla="*/ 1305 w 10000"/>
              <a:gd name="connsiteY39" fmla="*/ 5244 h 10288"/>
              <a:gd name="connsiteX40" fmla="*/ 1608 w 10000"/>
              <a:gd name="connsiteY40" fmla="*/ 5329 h 10288"/>
              <a:gd name="connsiteX41" fmla="*/ 2347 w 10000"/>
              <a:gd name="connsiteY41" fmla="*/ 5915 h 10288"/>
              <a:gd name="connsiteX42" fmla="*/ 3082 w 10000"/>
              <a:gd name="connsiteY42" fmla="*/ 5329 h 10288"/>
              <a:gd name="connsiteX43" fmla="*/ 3425 w 10000"/>
              <a:gd name="connsiteY43" fmla="*/ 5244 h 10288"/>
              <a:gd name="connsiteX44" fmla="*/ 3478 w 10000"/>
              <a:gd name="connsiteY44" fmla="*/ 5293 h 10288"/>
              <a:gd name="connsiteX45" fmla="*/ 3619 w 10000"/>
              <a:gd name="connsiteY45" fmla="*/ 5768 h 10288"/>
              <a:gd name="connsiteX46" fmla="*/ 3612 w 10000"/>
              <a:gd name="connsiteY46" fmla="*/ 6037 h 10288"/>
              <a:gd name="connsiteX47" fmla="*/ 4373 w 10000"/>
              <a:gd name="connsiteY47" fmla="*/ 7671 h 10288"/>
              <a:gd name="connsiteX48" fmla="*/ 4501 w 10000"/>
              <a:gd name="connsiteY48" fmla="*/ 7976 h 10288"/>
              <a:gd name="connsiteX49" fmla="*/ 4501 w 10000"/>
              <a:gd name="connsiteY49" fmla="*/ 10000 h 10288"/>
              <a:gd name="connsiteX50" fmla="*/ 4582 w 10000"/>
              <a:gd name="connsiteY50" fmla="*/ 10000 h 10288"/>
              <a:gd name="connsiteX51" fmla="*/ 4582 w 10000"/>
              <a:gd name="connsiteY51" fmla="*/ 7829 h 10288"/>
              <a:gd name="connsiteX52" fmla="*/ 4643 w 10000"/>
              <a:gd name="connsiteY52" fmla="*/ 7720 h 10288"/>
              <a:gd name="connsiteX53" fmla="*/ 5604 w 10000"/>
              <a:gd name="connsiteY53" fmla="*/ 5915 h 10288"/>
              <a:gd name="connsiteX54" fmla="*/ 5598 w 10000"/>
              <a:gd name="connsiteY54" fmla="*/ 5732 h 10288"/>
              <a:gd name="connsiteX55" fmla="*/ 5719 w 10000"/>
              <a:gd name="connsiteY55" fmla="*/ 5305 h 10288"/>
              <a:gd name="connsiteX56" fmla="*/ 5772 w 10000"/>
              <a:gd name="connsiteY56" fmla="*/ 5256 h 10288"/>
              <a:gd name="connsiteX57" fmla="*/ 6069 w 10000"/>
              <a:gd name="connsiteY57" fmla="*/ 5329 h 10288"/>
              <a:gd name="connsiteX58" fmla="*/ 6803 w 10000"/>
              <a:gd name="connsiteY58" fmla="*/ 5915 h 10288"/>
              <a:gd name="connsiteX59" fmla="*/ 7550 w 10000"/>
              <a:gd name="connsiteY59" fmla="*/ 5305 h 10288"/>
              <a:gd name="connsiteX60" fmla="*/ 7866 w 10000"/>
              <a:gd name="connsiteY60" fmla="*/ 5207 h 10288"/>
              <a:gd name="connsiteX61" fmla="*/ 7886 w 10000"/>
              <a:gd name="connsiteY61" fmla="*/ 5232 h 10288"/>
              <a:gd name="connsiteX62" fmla="*/ 8015 w 10000"/>
              <a:gd name="connsiteY62" fmla="*/ 5683 h 10288"/>
              <a:gd name="connsiteX63" fmla="*/ 8015 w 10000"/>
              <a:gd name="connsiteY63" fmla="*/ 6134 h 10288"/>
              <a:gd name="connsiteX64" fmla="*/ 8882 w 10000"/>
              <a:gd name="connsiteY64" fmla="*/ 7707 h 10288"/>
              <a:gd name="connsiteX65" fmla="*/ 8930 w 10000"/>
              <a:gd name="connsiteY65" fmla="*/ 7817 h 10288"/>
              <a:gd name="connsiteX66" fmla="*/ 8930 w 10000"/>
              <a:gd name="connsiteY66" fmla="*/ 10000 h 10288"/>
              <a:gd name="connsiteX67" fmla="*/ 9017 w 10000"/>
              <a:gd name="connsiteY67" fmla="*/ 10000 h 10288"/>
              <a:gd name="connsiteX68" fmla="*/ 9017 w 10000"/>
              <a:gd name="connsiteY68" fmla="*/ 8000 h 10288"/>
              <a:gd name="connsiteX69" fmla="*/ 9159 w 10000"/>
              <a:gd name="connsiteY69" fmla="*/ 7707 h 10288"/>
              <a:gd name="connsiteX70" fmla="*/ 10000 w 10000"/>
              <a:gd name="connsiteY70" fmla="*/ 5854 h 10288"/>
              <a:gd name="connsiteX0" fmla="*/ 10015 w 10015"/>
              <a:gd name="connsiteY0" fmla="*/ 5854 h 10582"/>
              <a:gd name="connsiteX1" fmla="*/ 9058 w 10015"/>
              <a:gd name="connsiteY1" fmla="*/ 4122 h 10582"/>
              <a:gd name="connsiteX2" fmla="*/ 8250 w 10015"/>
              <a:gd name="connsiteY2" fmla="*/ 4768 h 10582"/>
              <a:gd name="connsiteX3" fmla="*/ 7929 w 10015"/>
              <a:gd name="connsiteY3" fmla="*/ 4878 h 10582"/>
              <a:gd name="connsiteX4" fmla="*/ 7920 w 10015"/>
              <a:gd name="connsiteY4" fmla="*/ 4866 h 10582"/>
              <a:gd name="connsiteX5" fmla="*/ 7801 w 10015"/>
              <a:gd name="connsiteY5" fmla="*/ 4415 h 10582"/>
              <a:gd name="connsiteX6" fmla="*/ 7813 w 10015"/>
              <a:gd name="connsiteY6" fmla="*/ 3939 h 10582"/>
              <a:gd name="connsiteX7" fmla="*/ 6885 w 10015"/>
              <a:gd name="connsiteY7" fmla="*/ 2317 h 10582"/>
              <a:gd name="connsiteX8" fmla="*/ 6858 w 10015"/>
              <a:gd name="connsiteY8" fmla="*/ 2317 h 10582"/>
              <a:gd name="connsiteX9" fmla="*/ 6858 w 10015"/>
              <a:gd name="connsiteY9" fmla="*/ 0 h 10582"/>
              <a:gd name="connsiteX10" fmla="*/ 6771 w 10015"/>
              <a:gd name="connsiteY10" fmla="*/ 0 h 10582"/>
              <a:gd name="connsiteX11" fmla="*/ 6771 w 10015"/>
              <a:gd name="connsiteY11" fmla="*/ 1854 h 10582"/>
              <a:gd name="connsiteX12" fmla="*/ 6562 w 10015"/>
              <a:gd name="connsiteY12" fmla="*/ 2366 h 10582"/>
              <a:gd name="connsiteX13" fmla="*/ 5822 w 10015"/>
              <a:gd name="connsiteY13" fmla="*/ 4110 h 10582"/>
              <a:gd name="connsiteX14" fmla="*/ 5842 w 10015"/>
              <a:gd name="connsiteY14" fmla="*/ 4463 h 10582"/>
              <a:gd name="connsiteX15" fmla="*/ 5727 w 10015"/>
              <a:gd name="connsiteY15" fmla="*/ 4939 h 10582"/>
              <a:gd name="connsiteX16" fmla="*/ 5418 w 10015"/>
              <a:gd name="connsiteY16" fmla="*/ 4829 h 10582"/>
              <a:gd name="connsiteX17" fmla="*/ 4624 w 10015"/>
              <a:gd name="connsiteY17" fmla="*/ 4110 h 10582"/>
              <a:gd name="connsiteX18" fmla="*/ 3850 w 10015"/>
              <a:gd name="connsiteY18" fmla="*/ 4793 h 10582"/>
              <a:gd name="connsiteX19" fmla="*/ 3493 w 10015"/>
              <a:gd name="connsiteY19" fmla="*/ 4915 h 10582"/>
              <a:gd name="connsiteX20" fmla="*/ 3480 w 10015"/>
              <a:gd name="connsiteY20" fmla="*/ 4902 h 10582"/>
              <a:gd name="connsiteX21" fmla="*/ 3345 w 10015"/>
              <a:gd name="connsiteY21" fmla="*/ 4402 h 10582"/>
              <a:gd name="connsiteX22" fmla="*/ 3351 w 10015"/>
              <a:gd name="connsiteY22" fmla="*/ 3951 h 10582"/>
              <a:gd name="connsiteX23" fmla="*/ 2422 w 10015"/>
              <a:gd name="connsiteY23" fmla="*/ 2317 h 10582"/>
              <a:gd name="connsiteX24" fmla="*/ 2422 w 10015"/>
              <a:gd name="connsiteY24" fmla="*/ 2317 h 10582"/>
              <a:gd name="connsiteX25" fmla="*/ 2422 w 10015"/>
              <a:gd name="connsiteY25" fmla="*/ 0 h 10582"/>
              <a:gd name="connsiteX26" fmla="*/ 2342 w 10015"/>
              <a:gd name="connsiteY26" fmla="*/ 0 h 10582"/>
              <a:gd name="connsiteX27" fmla="*/ 2342 w 10015"/>
              <a:gd name="connsiteY27" fmla="*/ 1841 h 10582"/>
              <a:gd name="connsiteX28" fmla="*/ 2113 w 10015"/>
              <a:gd name="connsiteY28" fmla="*/ 2366 h 10582"/>
              <a:gd name="connsiteX29" fmla="*/ 1366 w 10015"/>
              <a:gd name="connsiteY29" fmla="*/ 4110 h 10582"/>
              <a:gd name="connsiteX30" fmla="*/ 1400 w 10015"/>
              <a:gd name="connsiteY30" fmla="*/ 4598 h 10582"/>
              <a:gd name="connsiteX31" fmla="*/ 1265 w 10015"/>
              <a:gd name="connsiteY31" fmla="*/ 4927 h 10582"/>
              <a:gd name="connsiteX32" fmla="*/ 861 w 10015"/>
              <a:gd name="connsiteY32" fmla="*/ 4634 h 10582"/>
              <a:gd name="connsiteX33" fmla="*/ 74 w 10015"/>
              <a:gd name="connsiteY33" fmla="*/ 10000 h 10582"/>
              <a:gd name="connsiteX34" fmla="*/ 155 w 10015"/>
              <a:gd name="connsiteY34" fmla="*/ 10000 h 10582"/>
              <a:gd name="connsiteX35" fmla="*/ 1157 w 10015"/>
              <a:gd name="connsiteY35" fmla="*/ 6098 h 10582"/>
              <a:gd name="connsiteX36" fmla="*/ 1157 w 10015"/>
              <a:gd name="connsiteY36" fmla="*/ 5720 h 10582"/>
              <a:gd name="connsiteX37" fmla="*/ 1272 w 10015"/>
              <a:gd name="connsiteY37" fmla="*/ 5293 h 10582"/>
              <a:gd name="connsiteX38" fmla="*/ 1320 w 10015"/>
              <a:gd name="connsiteY38" fmla="*/ 5244 h 10582"/>
              <a:gd name="connsiteX39" fmla="*/ 1623 w 10015"/>
              <a:gd name="connsiteY39" fmla="*/ 5329 h 10582"/>
              <a:gd name="connsiteX40" fmla="*/ 2362 w 10015"/>
              <a:gd name="connsiteY40" fmla="*/ 5915 h 10582"/>
              <a:gd name="connsiteX41" fmla="*/ 3097 w 10015"/>
              <a:gd name="connsiteY41" fmla="*/ 5329 h 10582"/>
              <a:gd name="connsiteX42" fmla="*/ 3440 w 10015"/>
              <a:gd name="connsiteY42" fmla="*/ 5244 h 10582"/>
              <a:gd name="connsiteX43" fmla="*/ 3493 w 10015"/>
              <a:gd name="connsiteY43" fmla="*/ 5293 h 10582"/>
              <a:gd name="connsiteX44" fmla="*/ 3634 w 10015"/>
              <a:gd name="connsiteY44" fmla="*/ 5768 h 10582"/>
              <a:gd name="connsiteX45" fmla="*/ 3627 w 10015"/>
              <a:gd name="connsiteY45" fmla="*/ 6037 h 10582"/>
              <a:gd name="connsiteX46" fmla="*/ 4388 w 10015"/>
              <a:gd name="connsiteY46" fmla="*/ 7671 h 10582"/>
              <a:gd name="connsiteX47" fmla="*/ 4516 w 10015"/>
              <a:gd name="connsiteY47" fmla="*/ 7976 h 10582"/>
              <a:gd name="connsiteX48" fmla="*/ 4516 w 10015"/>
              <a:gd name="connsiteY48" fmla="*/ 10000 h 10582"/>
              <a:gd name="connsiteX49" fmla="*/ 4597 w 10015"/>
              <a:gd name="connsiteY49" fmla="*/ 10000 h 10582"/>
              <a:gd name="connsiteX50" fmla="*/ 4597 w 10015"/>
              <a:gd name="connsiteY50" fmla="*/ 7829 h 10582"/>
              <a:gd name="connsiteX51" fmla="*/ 4658 w 10015"/>
              <a:gd name="connsiteY51" fmla="*/ 7720 h 10582"/>
              <a:gd name="connsiteX52" fmla="*/ 5619 w 10015"/>
              <a:gd name="connsiteY52" fmla="*/ 5915 h 10582"/>
              <a:gd name="connsiteX53" fmla="*/ 5613 w 10015"/>
              <a:gd name="connsiteY53" fmla="*/ 5732 h 10582"/>
              <a:gd name="connsiteX54" fmla="*/ 5734 w 10015"/>
              <a:gd name="connsiteY54" fmla="*/ 5305 h 10582"/>
              <a:gd name="connsiteX55" fmla="*/ 5787 w 10015"/>
              <a:gd name="connsiteY55" fmla="*/ 5256 h 10582"/>
              <a:gd name="connsiteX56" fmla="*/ 6084 w 10015"/>
              <a:gd name="connsiteY56" fmla="*/ 5329 h 10582"/>
              <a:gd name="connsiteX57" fmla="*/ 6818 w 10015"/>
              <a:gd name="connsiteY57" fmla="*/ 5915 h 10582"/>
              <a:gd name="connsiteX58" fmla="*/ 7565 w 10015"/>
              <a:gd name="connsiteY58" fmla="*/ 5305 h 10582"/>
              <a:gd name="connsiteX59" fmla="*/ 7881 w 10015"/>
              <a:gd name="connsiteY59" fmla="*/ 5207 h 10582"/>
              <a:gd name="connsiteX60" fmla="*/ 7901 w 10015"/>
              <a:gd name="connsiteY60" fmla="*/ 5232 h 10582"/>
              <a:gd name="connsiteX61" fmla="*/ 8030 w 10015"/>
              <a:gd name="connsiteY61" fmla="*/ 5683 h 10582"/>
              <a:gd name="connsiteX62" fmla="*/ 8030 w 10015"/>
              <a:gd name="connsiteY62" fmla="*/ 6134 h 10582"/>
              <a:gd name="connsiteX63" fmla="*/ 8897 w 10015"/>
              <a:gd name="connsiteY63" fmla="*/ 7707 h 10582"/>
              <a:gd name="connsiteX64" fmla="*/ 8945 w 10015"/>
              <a:gd name="connsiteY64" fmla="*/ 7817 h 10582"/>
              <a:gd name="connsiteX65" fmla="*/ 8945 w 10015"/>
              <a:gd name="connsiteY65" fmla="*/ 10000 h 10582"/>
              <a:gd name="connsiteX66" fmla="*/ 9032 w 10015"/>
              <a:gd name="connsiteY66" fmla="*/ 10000 h 10582"/>
              <a:gd name="connsiteX67" fmla="*/ 9032 w 10015"/>
              <a:gd name="connsiteY67" fmla="*/ 8000 h 10582"/>
              <a:gd name="connsiteX68" fmla="*/ 9174 w 10015"/>
              <a:gd name="connsiteY68" fmla="*/ 7707 h 10582"/>
              <a:gd name="connsiteX69" fmla="*/ 10015 w 10015"/>
              <a:gd name="connsiteY69" fmla="*/ 5854 h 10582"/>
              <a:gd name="connsiteX0" fmla="*/ 9944 w 9944"/>
              <a:gd name="connsiteY0" fmla="*/ 5854 h 10012"/>
              <a:gd name="connsiteX1" fmla="*/ 8987 w 9944"/>
              <a:gd name="connsiteY1" fmla="*/ 4122 h 10012"/>
              <a:gd name="connsiteX2" fmla="*/ 8179 w 9944"/>
              <a:gd name="connsiteY2" fmla="*/ 4768 h 10012"/>
              <a:gd name="connsiteX3" fmla="*/ 7858 w 9944"/>
              <a:gd name="connsiteY3" fmla="*/ 4878 h 10012"/>
              <a:gd name="connsiteX4" fmla="*/ 7849 w 9944"/>
              <a:gd name="connsiteY4" fmla="*/ 4866 h 10012"/>
              <a:gd name="connsiteX5" fmla="*/ 7730 w 9944"/>
              <a:gd name="connsiteY5" fmla="*/ 4415 h 10012"/>
              <a:gd name="connsiteX6" fmla="*/ 7742 w 9944"/>
              <a:gd name="connsiteY6" fmla="*/ 3939 h 10012"/>
              <a:gd name="connsiteX7" fmla="*/ 6814 w 9944"/>
              <a:gd name="connsiteY7" fmla="*/ 2317 h 10012"/>
              <a:gd name="connsiteX8" fmla="*/ 6787 w 9944"/>
              <a:gd name="connsiteY8" fmla="*/ 2317 h 10012"/>
              <a:gd name="connsiteX9" fmla="*/ 6787 w 9944"/>
              <a:gd name="connsiteY9" fmla="*/ 0 h 10012"/>
              <a:gd name="connsiteX10" fmla="*/ 6700 w 9944"/>
              <a:gd name="connsiteY10" fmla="*/ 0 h 10012"/>
              <a:gd name="connsiteX11" fmla="*/ 6700 w 9944"/>
              <a:gd name="connsiteY11" fmla="*/ 1854 h 10012"/>
              <a:gd name="connsiteX12" fmla="*/ 6491 w 9944"/>
              <a:gd name="connsiteY12" fmla="*/ 2366 h 10012"/>
              <a:gd name="connsiteX13" fmla="*/ 5751 w 9944"/>
              <a:gd name="connsiteY13" fmla="*/ 4110 h 10012"/>
              <a:gd name="connsiteX14" fmla="*/ 5771 w 9944"/>
              <a:gd name="connsiteY14" fmla="*/ 4463 h 10012"/>
              <a:gd name="connsiteX15" fmla="*/ 5656 w 9944"/>
              <a:gd name="connsiteY15" fmla="*/ 4939 h 10012"/>
              <a:gd name="connsiteX16" fmla="*/ 5347 w 9944"/>
              <a:gd name="connsiteY16" fmla="*/ 4829 h 10012"/>
              <a:gd name="connsiteX17" fmla="*/ 4553 w 9944"/>
              <a:gd name="connsiteY17" fmla="*/ 4110 h 10012"/>
              <a:gd name="connsiteX18" fmla="*/ 3779 w 9944"/>
              <a:gd name="connsiteY18" fmla="*/ 4793 h 10012"/>
              <a:gd name="connsiteX19" fmla="*/ 3422 w 9944"/>
              <a:gd name="connsiteY19" fmla="*/ 4915 h 10012"/>
              <a:gd name="connsiteX20" fmla="*/ 3409 w 9944"/>
              <a:gd name="connsiteY20" fmla="*/ 4902 h 10012"/>
              <a:gd name="connsiteX21" fmla="*/ 3274 w 9944"/>
              <a:gd name="connsiteY21" fmla="*/ 4402 h 10012"/>
              <a:gd name="connsiteX22" fmla="*/ 3280 w 9944"/>
              <a:gd name="connsiteY22" fmla="*/ 3951 h 10012"/>
              <a:gd name="connsiteX23" fmla="*/ 2351 w 9944"/>
              <a:gd name="connsiteY23" fmla="*/ 2317 h 10012"/>
              <a:gd name="connsiteX24" fmla="*/ 2351 w 9944"/>
              <a:gd name="connsiteY24" fmla="*/ 2317 h 10012"/>
              <a:gd name="connsiteX25" fmla="*/ 2351 w 9944"/>
              <a:gd name="connsiteY25" fmla="*/ 0 h 10012"/>
              <a:gd name="connsiteX26" fmla="*/ 2271 w 9944"/>
              <a:gd name="connsiteY26" fmla="*/ 0 h 10012"/>
              <a:gd name="connsiteX27" fmla="*/ 2271 w 9944"/>
              <a:gd name="connsiteY27" fmla="*/ 1841 h 10012"/>
              <a:gd name="connsiteX28" fmla="*/ 2042 w 9944"/>
              <a:gd name="connsiteY28" fmla="*/ 2366 h 10012"/>
              <a:gd name="connsiteX29" fmla="*/ 1295 w 9944"/>
              <a:gd name="connsiteY29" fmla="*/ 4110 h 10012"/>
              <a:gd name="connsiteX30" fmla="*/ 1329 w 9944"/>
              <a:gd name="connsiteY30" fmla="*/ 4598 h 10012"/>
              <a:gd name="connsiteX31" fmla="*/ 1194 w 9944"/>
              <a:gd name="connsiteY31" fmla="*/ 4927 h 10012"/>
              <a:gd name="connsiteX32" fmla="*/ 790 w 9944"/>
              <a:gd name="connsiteY32" fmla="*/ 4634 h 10012"/>
              <a:gd name="connsiteX33" fmla="*/ 3 w 9944"/>
              <a:gd name="connsiteY33" fmla="*/ 10000 h 10012"/>
              <a:gd name="connsiteX34" fmla="*/ 1086 w 9944"/>
              <a:gd name="connsiteY34" fmla="*/ 6098 h 10012"/>
              <a:gd name="connsiteX35" fmla="*/ 1086 w 9944"/>
              <a:gd name="connsiteY35" fmla="*/ 5720 h 10012"/>
              <a:gd name="connsiteX36" fmla="*/ 1201 w 9944"/>
              <a:gd name="connsiteY36" fmla="*/ 5293 h 10012"/>
              <a:gd name="connsiteX37" fmla="*/ 1249 w 9944"/>
              <a:gd name="connsiteY37" fmla="*/ 5244 h 10012"/>
              <a:gd name="connsiteX38" fmla="*/ 1552 w 9944"/>
              <a:gd name="connsiteY38" fmla="*/ 5329 h 10012"/>
              <a:gd name="connsiteX39" fmla="*/ 2291 w 9944"/>
              <a:gd name="connsiteY39" fmla="*/ 5915 h 10012"/>
              <a:gd name="connsiteX40" fmla="*/ 3026 w 9944"/>
              <a:gd name="connsiteY40" fmla="*/ 5329 h 10012"/>
              <a:gd name="connsiteX41" fmla="*/ 3369 w 9944"/>
              <a:gd name="connsiteY41" fmla="*/ 5244 h 10012"/>
              <a:gd name="connsiteX42" fmla="*/ 3422 w 9944"/>
              <a:gd name="connsiteY42" fmla="*/ 5293 h 10012"/>
              <a:gd name="connsiteX43" fmla="*/ 3563 w 9944"/>
              <a:gd name="connsiteY43" fmla="*/ 5768 h 10012"/>
              <a:gd name="connsiteX44" fmla="*/ 3556 w 9944"/>
              <a:gd name="connsiteY44" fmla="*/ 6037 h 10012"/>
              <a:gd name="connsiteX45" fmla="*/ 4317 w 9944"/>
              <a:gd name="connsiteY45" fmla="*/ 7671 h 10012"/>
              <a:gd name="connsiteX46" fmla="*/ 4445 w 9944"/>
              <a:gd name="connsiteY46" fmla="*/ 7976 h 10012"/>
              <a:gd name="connsiteX47" fmla="*/ 4445 w 9944"/>
              <a:gd name="connsiteY47" fmla="*/ 10000 h 10012"/>
              <a:gd name="connsiteX48" fmla="*/ 4526 w 9944"/>
              <a:gd name="connsiteY48" fmla="*/ 10000 h 10012"/>
              <a:gd name="connsiteX49" fmla="*/ 4526 w 9944"/>
              <a:gd name="connsiteY49" fmla="*/ 7829 h 10012"/>
              <a:gd name="connsiteX50" fmla="*/ 4587 w 9944"/>
              <a:gd name="connsiteY50" fmla="*/ 7720 h 10012"/>
              <a:gd name="connsiteX51" fmla="*/ 5548 w 9944"/>
              <a:gd name="connsiteY51" fmla="*/ 5915 h 10012"/>
              <a:gd name="connsiteX52" fmla="*/ 5542 w 9944"/>
              <a:gd name="connsiteY52" fmla="*/ 5732 h 10012"/>
              <a:gd name="connsiteX53" fmla="*/ 5663 w 9944"/>
              <a:gd name="connsiteY53" fmla="*/ 5305 h 10012"/>
              <a:gd name="connsiteX54" fmla="*/ 5716 w 9944"/>
              <a:gd name="connsiteY54" fmla="*/ 5256 h 10012"/>
              <a:gd name="connsiteX55" fmla="*/ 6013 w 9944"/>
              <a:gd name="connsiteY55" fmla="*/ 5329 h 10012"/>
              <a:gd name="connsiteX56" fmla="*/ 6747 w 9944"/>
              <a:gd name="connsiteY56" fmla="*/ 5915 h 10012"/>
              <a:gd name="connsiteX57" fmla="*/ 7494 w 9944"/>
              <a:gd name="connsiteY57" fmla="*/ 5305 h 10012"/>
              <a:gd name="connsiteX58" fmla="*/ 7810 w 9944"/>
              <a:gd name="connsiteY58" fmla="*/ 5207 h 10012"/>
              <a:gd name="connsiteX59" fmla="*/ 7830 w 9944"/>
              <a:gd name="connsiteY59" fmla="*/ 5232 h 10012"/>
              <a:gd name="connsiteX60" fmla="*/ 7959 w 9944"/>
              <a:gd name="connsiteY60" fmla="*/ 5683 h 10012"/>
              <a:gd name="connsiteX61" fmla="*/ 7959 w 9944"/>
              <a:gd name="connsiteY61" fmla="*/ 6134 h 10012"/>
              <a:gd name="connsiteX62" fmla="*/ 8826 w 9944"/>
              <a:gd name="connsiteY62" fmla="*/ 7707 h 10012"/>
              <a:gd name="connsiteX63" fmla="*/ 8874 w 9944"/>
              <a:gd name="connsiteY63" fmla="*/ 7817 h 10012"/>
              <a:gd name="connsiteX64" fmla="*/ 8874 w 9944"/>
              <a:gd name="connsiteY64" fmla="*/ 10000 h 10012"/>
              <a:gd name="connsiteX65" fmla="*/ 8961 w 9944"/>
              <a:gd name="connsiteY65" fmla="*/ 10000 h 10012"/>
              <a:gd name="connsiteX66" fmla="*/ 8961 w 9944"/>
              <a:gd name="connsiteY66" fmla="*/ 8000 h 10012"/>
              <a:gd name="connsiteX67" fmla="*/ 9103 w 9944"/>
              <a:gd name="connsiteY67" fmla="*/ 7707 h 10012"/>
              <a:gd name="connsiteX68" fmla="*/ 9944 w 9944"/>
              <a:gd name="connsiteY68" fmla="*/ 5854 h 10012"/>
              <a:gd name="connsiteX0" fmla="*/ 9207 w 9207"/>
              <a:gd name="connsiteY0" fmla="*/ 5847 h 9988"/>
              <a:gd name="connsiteX1" fmla="*/ 8245 w 9207"/>
              <a:gd name="connsiteY1" fmla="*/ 4117 h 9988"/>
              <a:gd name="connsiteX2" fmla="*/ 7432 w 9207"/>
              <a:gd name="connsiteY2" fmla="*/ 4762 h 9988"/>
              <a:gd name="connsiteX3" fmla="*/ 7109 w 9207"/>
              <a:gd name="connsiteY3" fmla="*/ 4872 h 9988"/>
              <a:gd name="connsiteX4" fmla="*/ 7100 w 9207"/>
              <a:gd name="connsiteY4" fmla="*/ 4860 h 9988"/>
              <a:gd name="connsiteX5" fmla="*/ 6981 w 9207"/>
              <a:gd name="connsiteY5" fmla="*/ 4410 h 9988"/>
              <a:gd name="connsiteX6" fmla="*/ 6993 w 9207"/>
              <a:gd name="connsiteY6" fmla="*/ 3934 h 9988"/>
              <a:gd name="connsiteX7" fmla="*/ 6059 w 9207"/>
              <a:gd name="connsiteY7" fmla="*/ 2314 h 9988"/>
              <a:gd name="connsiteX8" fmla="*/ 6032 w 9207"/>
              <a:gd name="connsiteY8" fmla="*/ 2314 h 9988"/>
              <a:gd name="connsiteX9" fmla="*/ 6032 w 9207"/>
              <a:gd name="connsiteY9" fmla="*/ 0 h 9988"/>
              <a:gd name="connsiteX10" fmla="*/ 5945 w 9207"/>
              <a:gd name="connsiteY10" fmla="*/ 0 h 9988"/>
              <a:gd name="connsiteX11" fmla="*/ 5945 w 9207"/>
              <a:gd name="connsiteY11" fmla="*/ 1852 h 9988"/>
              <a:gd name="connsiteX12" fmla="*/ 5735 w 9207"/>
              <a:gd name="connsiteY12" fmla="*/ 2363 h 9988"/>
              <a:gd name="connsiteX13" fmla="*/ 4990 w 9207"/>
              <a:gd name="connsiteY13" fmla="*/ 4105 h 9988"/>
              <a:gd name="connsiteX14" fmla="*/ 5010 w 9207"/>
              <a:gd name="connsiteY14" fmla="*/ 4458 h 9988"/>
              <a:gd name="connsiteX15" fmla="*/ 4895 w 9207"/>
              <a:gd name="connsiteY15" fmla="*/ 4933 h 9988"/>
              <a:gd name="connsiteX16" fmla="*/ 4584 w 9207"/>
              <a:gd name="connsiteY16" fmla="*/ 4823 h 9988"/>
              <a:gd name="connsiteX17" fmla="*/ 3786 w 9207"/>
              <a:gd name="connsiteY17" fmla="*/ 4105 h 9988"/>
              <a:gd name="connsiteX18" fmla="*/ 3007 w 9207"/>
              <a:gd name="connsiteY18" fmla="*/ 4787 h 9988"/>
              <a:gd name="connsiteX19" fmla="*/ 2648 w 9207"/>
              <a:gd name="connsiteY19" fmla="*/ 4909 h 9988"/>
              <a:gd name="connsiteX20" fmla="*/ 2635 w 9207"/>
              <a:gd name="connsiteY20" fmla="*/ 4896 h 9988"/>
              <a:gd name="connsiteX21" fmla="*/ 2499 w 9207"/>
              <a:gd name="connsiteY21" fmla="*/ 4397 h 9988"/>
              <a:gd name="connsiteX22" fmla="*/ 2505 w 9207"/>
              <a:gd name="connsiteY22" fmla="*/ 3946 h 9988"/>
              <a:gd name="connsiteX23" fmla="*/ 1571 w 9207"/>
              <a:gd name="connsiteY23" fmla="*/ 2314 h 9988"/>
              <a:gd name="connsiteX24" fmla="*/ 1571 w 9207"/>
              <a:gd name="connsiteY24" fmla="*/ 2314 h 9988"/>
              <a:gd name="connsiteX25" fmla="*/ 1571 w 9207"/>
              <a:gd name="connsiteY25" fmla="*/ 0 h 9988"/>
              <a:gd name="connsiteX26" fmla="*/ 1491 w 9207"/>
              <a:gd name="connsiteY26" fmla="*/ 0 h 9988"/>
              <a:gd name="connsiteX27" fmla="*/ 1491 w 9207"/>
              <a:gd name="connsiteY27" fmla="*/ 1839 h 9988"/>
              <a:gd name="connsiteX28" fmla="*/ 1260 w 9207"/>
              <a:gd name="connsiteY28" fmla="*/ 2363 h 9988"/>
              <a:gd name="connsiteX29" fmla="*/ 509 w 9207"/>
              <a:gd name="connsiteY29" fmla="*/ 4105 h 9988"/>
              <a:gd name="connsiteX30" fmla="*/ 543 w 9207"/>
              <a:gd name="connsiteY30" fmla="*/ 4592 h 9988"/>
              <a:gd name="connsiteX31" fmla="*/ 408 w 9207"/>
              <a:gd name="connsiteY31" fmla="*/ 4921 h 9988"/>
              <a:gd name="connsiteX32" fmla="*/ 1 w 9207"/>
              <a:gd name="connsiteY32" fmla="*/ 4628 h 9988"/>
              <a:gd name="connsiteX33" fmla="*/ 299 w 9207"/>
              <a:gd name="connsiteY33" fmla="*/ 6091 h 9988"/>
              <a:gd name="connsiteX34" fmla="*/ 299 w 9207"/>
              <a:gd name="connsiteY34" fmla="*/ 5713 h 9988"/>
              <a:gd name="connsiteX35" fmla="*/ 415 w 9207"/>
              <a:gd name="connsiteY35" fmla="*/ 5287 h 9988"/>
              <a:gd name="connsiteX36" fmla="*/ 463 w 9207"/>
              <a:gd name="connsiteY36" fmla="*/ 5238 h 9988"/>
              <a:gd name="connsiteX37" fmla="*/ 768 w 9207"/>
              <a:gd name="connsiteY37" fmla="*/ 5323 h 9988"/>
              <a:gd name="connsiteX38" fmla="*/ 1511 w 9207"/>
              <a:gd name="connsiteY38" fmla="*/ 5908 h 9988"/>
              <a:gd name="connsiteX39" fmla="*/ 2250 w 9207"/>
              <a:gd name="connsiteY39" fmla="*/ 5323 h 9988"/>
              <a:gd name="connsiteX40" fmla="*/ 2595 w 9207"/>
              <a:gd name="connsiteY40" fmla="*/ 5238 h 9988"/>
              <a:gd name="connsiteX41" fmla="*/ 2648 w 9207"/>
              <a:gd name="connsiteY41" fmla="*/ 5287 h 9988"/>
              <a:gd name="connsiteX42" fmla="*/ 2790 w 9207"/>
              <a:gd name="connsiteY42" fmla="*/ 5761 h 9988"/>
              <a:gd name="connsiteX43" fmla="*/ 2783 w 9207"/>
              <a:gd name="connsiteY43" fmla="*/ 6030 h 9988"/>
              <a:gd name="connsiteX44" fmla="*/ 3548 w 9207"/>
              <a:gd name="connsiteY44" fmla="*/ 7662 h 9988"/>
              <a:gd name="connsiteX45" fmla="*/ 3677 w 9207"/>
              <a:gd name="connsiteY45" fmla="*/ 7966 h 9988"/>
              <a:gd name="connsiteX46" fmla="*/ 3677 w 9207"/>
              <a:gd name="connsiteY46" fmla="*/ 9988 h 9988"/>
              <a:gd name="connsiteX47" fmla="*/ 3758 w 9207"/>
              <a:gd name="connsiteY47" fmla="*/ 9988 h 9988"/>
              <a:gd name="connsiteX48" fmla="*/ 3758 w 9207"/>
              <a:gd name="connsiteY48" fmla="*/ 7820 h 9988"/>
              <a:gd name="connsiteX49" fmla="*/ 3820 w 9207"/>
              <a:gd name="connsiteY49" fmla="*/ 7711 h 9988"/>
              <a:gd name="connsiteX50" fmla="*/ 4786 w 9207"/>
              <a:gd name="connsiteY50" fmla="*/ 5908 h 9988"/>
              <a:gd name="connsiteX51" fmla="*/ 4780 w 9207"/>
              <a:gd name="connsiteY51" fmla="*/ 5725 h 9988"/>
              <a:gd name="connsiteX52" fmla="*/ 4902 w 9207"/>
              <a:gd name="connsiteY52" fmla="*/ 5299 h 9988"/>
              <a:gd name="connsiteX53" fmla="*/ 4955 w 9207"/>
              <a:gd name="connsiteY53" fmla="*/ 5250 h 9988"/>
              <a:gd name="connsiteX54" fmla="*/ 5254 w 9207"/>
              <a:gd name="connsiteY54" fmla="*/ 5323 h 9988"/>
              <a:gd name="connsiteX55" fmla="*/ 5992 w 9207"/>
              <a:gd name="connsiteY55" fmla="*/ 5908 h 9988"/>
              <a:gd name="connsiteX56" fmla="*/ 6743 w 9207"/>
              <a:gd name="connsiteY56" fmla="*/ 5299 h 9988"/>
              <a:gd name="connsiteX57" fmla="*/ 7061 w 9207"/>
              <a:gd name="connsiteY57" fmla="*/ 5201 h 9988"/>
              <a:gd name="connsiteX58" fmla="*/ 7081 w 9207"/>
              <a:gd name="connsiteY58" fmla="*/ 5226 h 9988"/>
              <a:gd name="connsiteX59" fmla="*/ 7211 w 9207"/>
              <a:gd name="connsiteY59" fmla="*/ 5676 h 9988"/>
              <a:gd name="connsiteX60" fmla="*/ 7211 w 9207"/>
              <a:gd name="connsiteY60" fmla="*/ 6127 h 9988"/>
              <a:gd name="connsiteX61" fmla="*/ 8083 w 9207"/>
              <a:gd name="connsiteY61" fmla="*/ 7698 h 9988"/>
              <a:gd name="connsiteX62" fmla="*/ 8131 w 9207"/>
              <a:gd name="connsiteY62" fmla="*/ 7808 h 9988"/>
              <a:gd name="connsiteX63" fmla="*/ 8131 w 9207"/>
              <a:gd name="connsiteY63" fmla="*/ 9988 h 9988"/>
              <a:gd name="connsiteX64" fmla="*/ 8218 w 9207"/>
              <a:gd name="connsiteY64" fmla="*/ 9988 h 9988"/>
              <a:gd name="connsiteX65" fmla="*/ 8218 w 9207"/>
              <a:gd name="connsiteY65" fmla="*/ 7990 h 9988"/>
              <a:gd name="connsiteX66" fmla="*/ 8361 w 9207"/>
              <a:gd name="connsiteY66" fmla="*/ 7698 h 9988"/>
              <a:gd name="connsiteX67" fmla="*/ 9207 w 9207"/>
              <a:gd name="connsiteY67" fmla="*/ 5847 h 9988"/>
              <a:gd name="connsiteX0" fmla="*/ 10000 w 10000"/>
              <a:gd name="connsiteY0" fmla="*/ 5854 h 10000"/>
              <a:gd name="connsiteX1" fmla="*/ 8955 w 10000"/>
              <a:gd name="connsiteY1" fmla="*/ 4122 h 10000"/>
              <a:gd name="connsiteX2" fmla="*/ 8072 w 10000"/>
              <a:gd name="connsiteY2" fmla="*/ 4768 h 10000"/>
              <a:gd name="connsiteX3" fmla="*/ 7721 w 10000"/>
              <a:gd name="connsiteY3" fmla="*/ 4878 h 10000"/>
              <a:gd name="connsiteX4" fmla="*/ 7712 w 10000"/>
              <a:gd name="connsiteY4" fmla="*/ 4866 h 10000"/>
              <a:gd name="connsiteX5" fmla="*/ 7582 w 10000"/>
              <a:gd name="connsiteY5" fmla="*/ 4415 h 10000"/>
              <a:gd name="connsiteX6" fmla="*/ 7595 w 10000"/>
              <a:gd name="connsiteY6" fmla="*/ 3939 h 10000"/>
              <a:gd name="connsiteX7" fmla="*/ 6581 w 10000"/>
              <a:gd name="connsiteY7" fmla="*/ 2317 h 10000"/>
              <a:gd name="connsiteX8" fmla="*/ 6552 w 10000"/>
              <a:gd name="connsiteY8" fmla="*/ 2317 h 10000"/>
              <a:gd name="connsiteX9" fmla="*/ 6552 w 10000"/>
              <a:gd name="connsiteY9" fmla="*/ 0 h 10000"/>
              <a:gd name="connsiteX10" fmla="*/ 6457 w 10000"/>
              <a:gd name="connsiteY10" fmla="*/ 0 h 10000"/>
              <a:gd name="connsiteX11" fmla="*/ 6457 w 10000"/>
              <a:gd name="connsiteY11" fmla="*/ 1854 h 10000"/>
              <a:gd name="connsiteX12" fmla="*/ 6229 w 10000"/>
              <a:gd name="connsiteY12" fmla="*/ 2366 h 10000"/>
              <a:gd name="connsiteX13" fmla="*/ 5420 w 10000"/>
              <a:gd name="connsiteY13" fmla="*/ 4110 h 10000"/>
              <a:gd name="connsiteX14" fmla="*/ 5442 w 10000"/>
              <a:gd name="connsiteY14" fmla="*/ 4463 h 10000"/>
              <a:gd name="connsiteX15" fmla="*/ 5317 w 10000"/>
              <a:gd name="connsiteY15" fmla="*/ 4939 h 10000"/>
              <a:gd name="connsiteX16" fmla="*/ 4979 w 10000"/>
              <a:gd name="connsiteY16" fmla="*/ 4829 h 10000"/>
              <a:gd name="connsiteX17" fmla="*/ 4112 w 10000"/>
              <a:gd name="connsiteY17" fmla="*/ 4110 h 10000"/>
              <a:gd name="connsiteX18" fmla="*/ 3266 w 10000"/>
              <a:gd name="connsiteY18" fmla="*/ 4793 h 10000"/>
              <a:gd name="connsiteX19" fmla="*/ 2876 w 10000"/>
              <a:gd name="connsiteY19" fmla="*/ 4915 h 10000"/>
              <a:gd name="connsiteX20" fmla="*/ 2862 w 10000"/>
              <a:gd name="connsiteY20" fmla="*/ 4902 h 10000"/>
              <a:gd name="connsiteX21" fmla="*/ 2714 w 10000"/>
              <a:gd name="connsiteY21" fmla="*/ 4402 h 10000"/>
              <a:gd name="connsiteX22" fmla="*/ 2721 w 10000"/>
              <a:gd name="connsiteY22" fmla="*/ 3951 h 10000"/>
              <a:gd name="connsiteX23" fmla="*/ 1706 w 10000"/>
              <a:gd name="connsiteY23" fmla="*/ 2317 h 10000"/>
              <a:gd name="connsiteX24" fmla="*/ 1706 w 10000"/>
              <a:gd name="connsiteY24" fmla="*/ 2317 h 10000"/>
              <a:gd name="connsiteX25" fmla="*/ 1706 w 10000"/>
              <a:gd name="connsiteY25" fmla="*/ 0 h 10000"/>
              <a:gd name="connsiteX26" fmla="*/ 1619 w 10000"/>
              <a:gd name="connsiteY26" fmla="*/ 0 h 10000"/>
              <a:gd name="connsiteX27" fmla="*/ 1619 w 10000"/>
              <a:gd name="connsiteY27" fmla="*/ 1841 h 10000"/>
              <a:gd name="connsiteX28" fmla="*/ 1369 w 10000"/>
              <a:gd name="connsiteY28" fmla="*/ 2366 h 10000"/>
              <a:gd name="connsiteX29" fmla="*/ 553 w 10000"/>
              <a:gd name="connsiteY29" fmla="*/ 4110 h 10000"/>
              <a:gd name="connsiteX30" fmla="*/ 590 w 10000"/>
              <a:gd name="connsiteY30" fmla="*/ 4598 h 10000"/>
              <a:gd name="connsiteX31" fmla="*/ 443 w 10000"/>
              <a:gd name="connsiteY31" fmla="*/ 4927 h 10000"/>
              <a:gd name="connsiteX32" fmla="*/ 1 w 10000"/>
              <a:gd name="connsiteY32" fmla="*/ 4634 h 10000"/>
              <a:gd name="connsiteX33" fmla="*/ 325 w 10000"/>
              <a:gd name="connsiteY33" fmla="*/ 5720 h 10000"/>
              <a:gd name="connsiteX34" fmla="*/ 451 w 10000"/>
              <a:gd name="connsiteY34" fmla="*/ 5293 h 10000"/>
              <a:gd name="connsiteX35" fmla="*/ 503 w 10000"/>
              <a:gd name="connsiteY35" fmla="*/ 5244 h 10000"/>
              <a:gd name="connsiteX36" fmla="*/ 834 w 10000"/>
              <a:gd name="connsiteY36" fmla="*/ 5329 h 10000"/>
              <a:gd name="connsiteX37" fmla="*/ 1641 w 10000"/>
              <a:gd name="connsiteY37" fmla="*/ 5915 h 10000"/>
              <a:gd name="connsiteX38" fmla="*/ 2444 w 10000"/>
              <a:gd name="connsiteY38" fmla="*/ 5329 h 10000"/>
              <a:gd name="connsiteX39" fmla="*/ 2819 w 10000"/>
              <a:gd name="connsiteY39" fmla="*/ 5244 h 10000"/>
              <a:gd name="connsiteX40" fmla="*/ 2876 w 10000"/>
              <a:gd name="connsiteY40" fmla="*/ 5293 h 10000"/>
              <a:gd name="connsiteX41" fmla="*/ 3030 w 10000"/>
              <a:gd name="connsiteY41" fmla="*/ 5768 h 10000"/>
              <a:gd name="connsiteX42" fmla="*/ 3023 w 10000"/>
              <a:gd name="connsiteY42" fmla="*/ 6037 h 10000"/>
              <a:gd name="connsiteX43" fmla="*/ 3854 w 10000"/>
              <a:gd name="connsiteY43" fmla="*/ 7671 h 10000"/>
              <a:gd name="connsiteX44" fmla="*/ 3994 w 10000"/>
              <a:gd name="connsiteY44" fmla="*/ 7976 h 10000"/>
              <a:gd name="connsiteX45" fmla="*/ 3994 w 10000"/>
              <a:gd name="connsiteY45" fmla="*/ 10000 h 10000"/>
              <a:gd name="connsiteX46" fmla="*/ 4082 w 10000"/>
              <a:gd name="connsiteY46" fmla="*/ 10000 h 10000"/>
              <a:gd name="connsiteX47" fmla="*/ 4082 w 10000"/>
              <a:gd name="connsiteY47" fmla="*/ 7829 h 10000"/>
              <a:gd name="connsiteX48" fmla="*/ 4149 w 10000"/>
              <a:gd name="connsiteY48" fmla="*/ 7720 h 10000"/>
              <a:gd name="connsiteX49" fmla="*/ 5198 w 10000"/>
              <a:gd name="connsiteY49" fmla="*/ 5915 h 10000"/>
              <a:gd name="connsiteX50" fmla="*/ 5192 w 10000"/>
              <a:gd name="connsiteY50" fmla="*/ 5732 h 10000"/>
              <a:gd name="connsiteX51" fmla="*/ 5324 w 10000"/>
              <a:gd name="connsiteY51" fmla="*/ 5305 h 10000"/>
              <a:gd name="connsiteX52" fmla="*/ 5382 w 10000"/>
              <a:gd name="connsiteY52" fmla="*/ 5256 h 10000"/>
              <a:gd name="connsiteX53" fmla="*/ 5707 w 10000"/>
              <a:gd name="connsiteY53" fmla="*/ 5329 h 10000"/>
              <a:gd name="connsiteX54" fmla="*/ 6508 w 10000"/>
              <a:gd name="connsiteY54" fmla="*/ 5915 h 10000"/>
              <a:gd name="connsiteX55" fmla="*/ 7324 w 10000"/>
              <a:gd name="connsiteY55" fmla="*/ 5305 h 10000"/>
              <a:gd name="connsiteX56" fmla="*/ 7669 w 10000"/>
              <a:gd name="connsiteY56" fmla="*/ 5207 h 10000"/>
              <a:gd name="connsiteX57" fmla="*/ 7691 w 10000"/>
              <a:gd name="connsiteY57" fmla="*/ 5232 h 10000"/>
              <a:gd name="connsiteX58" fmla="*/ 7832 w 10000"/>
              <a:gd name="connsiteY58" fmla="*/ 5683 h 10000"/>
              <a:gd name="connsiteX59" fmla="*/ 7832 w 10000"/>
              <a:gd name="connsiteY59" fmla="*/ 6134 h 10000"/>
              <a:gd name="connsiteX60" fmla="*/ 8779 w 10000"/>
              <a:gd name="connsiteY60" fmla="*/ 7707 h 10000"/>
              <a:gd name="connsiteX61" fmla="*/ 8831 w 10000"/>
              <a:gd name="connsiteY61" fmla="*/ 7817 h 10000"/>
              <a:gd name="connsiteX62" fmla="*/ 8831 w 10000"/>
              <a:gd name="connsiteY62" fmla="*/ 10000 h 10000"/>
              <a:gd name="connsiteX63" fmla="*/ 8926 w 10000"/>
              <a:gd name="connsiteY63" fmla="*/ 10000 h 10000"/>
              <a:gd name="connsiteX64" fmla="*/ 8926 w 10000"/>
              <a:gd name="connsiteY64" fmla="*/ 8000 h 10000"/>
              <a:gd name="connsiteX65" fmla="*/ 9081 w 10000"/>
              <a:gd name="connsiteY65" fmla="*/ 7707 h 10000"/>
              <a:gd name="connsiteX66" fmla="*/ 10000 w 10000"/>
              <a:gd name="connsiteY66" fmla="*/ 5854 h 10000"/>
              <a:gd name="connsiteX0" fmla="*/ 9999 w 9999"/>
              <a:gd name="connsiteY0" fmla="*/ 5854 h 10000"/>
              <a:gd name="connsiteX1" fmla="*/ 8954 w 9999"/>
              <a:gd name="connsiteY1" fmla="*/ 4122 h 10000"/>
              <a:gd name="connsiteX2" fmla="*/ 8071 w 9999"/>
              <a:gd name="connsiteY2" fmla="*/ 4768 h 10000"/>
              <a:gd name="connsiteX3" fmla="*/ 7720 w 9999"/>
              <a:gd name="connsiteY3" fmla="*/ 4878 h 10000"/>
              <a:gd name="connsiteX4" fmla="*/ 7711 w 9999"/>
              <a:gd name="connsiteY4" fmla="*/ 4866 h 10000"/>
              <a:gd name="connsiteX5" fmla="*/ 7581 w 9999"/>
              <a:gd name="connsiteY5" fmla="*/ 4415 h 10000"/>
              <a:gd name="connsiteX6" fmla="*/ 7594 w 9999"/>
              <a:gd name="connsiteY6" fmla="*/ 3939 h 10000"/>
              <a:gd name="connsiteX7" fmla="*/ 6580 w 9999"/>
              <a:gd name="connsiteY7" fmla="*/ 2317 h 10000"/>
              <a:gd name="connsiteX8" fmla="*/ 6551 w 9999"/>
              <a:gd name="connsiteY8" fmla="*/ 2317 h 10000"/>
              <a:gd name="connsiteX9" fmla="*/ 6551 w 9999"/>
              <a:gd name="connsiteY9" fmla="*/ 0 h 10000"/>
              <a:gd name="connsiteX10" fmla="*/ 6456 w 9999"/>
              <a:gd name="connsiteY10" fmla="*/ 0 h 10000"/>
              <a:gd name="connsiteX11" fmla="*/ 6456 w 9999"/>
              <a:gd name="connsiteY11" fmla="*/ 1854 h 10000"/>
              <a:gd name="connsiteX12" fmla="*/ 6228 w 9999"/>
              <a:gd name="connsiteY12" fmla="*/ 2366 h 10000"/>
              <a:gd name="connsiteX13" fmla="*/ 5419 w 9999"/>
              <a:gd name="connsiteY13" fmla="*/ 4110 h 10000"/>
              <a:gd name="connsiteX14" fmla="*/ 5441 w 9999"/>
              <a:gd name="connsiteY14" fmla="*/ 4463 h 10000"/>
              <a:gd name="connsiteX15" fmla="*/ 5316 w 9999"/>
              <a:gd name="connsiteY15" fmla="*/ 4939 h 10000"/>
              <a:gd name="connsiteX16" fmla="*/ 4978 w 9999"/>
              <a:gd name="connsiteY16" fmla="*/ 4829 h 10000"/>
              <a:gd name="connsiteX17" fmla="*/ 4111 w 9999"/>
              <a:gd name="connsiteY17" fmla="*/ 4110 h 10000"/>
              <a:gd name="connsiteX18" fmla="*/ 3265 w 9999"/>
              <a:gd name="connsiteY18" fmla="*/ 4793 h 10000"/>
              <a:gd name="connsiteX19" fmla="*/ 2875 w 9999"/>
              <a:gd name="connsiteY19" fmla="*/ 4915 h 10000"/>
              <a:gd name="connsiteX20" fmla="*/ 2861 w 9999"/>
              <a:gd name="connsiteY20" fmla="*/ 4902 h 10000"/>
              <a:gd name="connsiteX21" fmla="*/ 2713 w 9999"/>
              <a:gd name="connsiteY21" fmla="*/ 4402 h 10000"/>
              <a:gd name="connsiteX22" fmla="*/ 2720 w 9999"/>
              <a:gd name="connsiteY22" fmla="*/ 3951 h 10000"/>
              <a:gd name="connsiteX23" fmla="*/ 1705 w 9999"/>
              <a:gd name="connsiteY23" fmla="*/ 2317 h 10000"/>
              <a:gd name="connsiteX24" fmla="*/ 1705 w 9999"/>
              <a:gd name="connsiteY24" fmla="*/ 2317 h 10000"/>
              <a:gd name="connsiteX25" fmla="*/ 1705 w 9999"/>
              <a:gd name="connsiteY25" fmla="*/ 0 h 10000"/>
              <a:gd name="connsiteX26" fmla="*/ 1618 w 9999"/>
              <a:gd name="connsiteY26" fmla="*/ 0 h 10000"/>
              <a:gd name="connsiteX27" fmla="*/ 1618 w 9999"/>
              <a:gd name="connsiteY27" fmla="*/ 1841 h 10000"/>
              <a:gd name="connsiteX28" fmla="*/ 1368 w 9999"/>
              <a:gd name="connsiteY28" fmla="*/ 2366 h 10000"/>
              <a:gd name="connsiteX29" fmla="*/ 552 w 9999"/>
              <a:gd name="connsiteY29" fmla="*/ 4110 h 10000"/>
              <a:gd name="connsiteX30" fmla="*/ 589 w 9999"/>
              <a:gd name="connsiteY30" fmla="*/ 4598 h 10000"/>
              <a:gd name="connsiteX31" fmla="*/ 442 w 9999"/>
              <a:gd name="connsiteY31" fmla="*/ 4927 h 10000"/>
              <a:gd name="connsiteX32" fmla="*/ 0 w 9999"/>
              <a:gd name="connsiteY32" fmla="*/ 4634 h 10000"/>
              <a:gd name="connsiteX33" fmla="*/ 450 w 9999"/>
              <a:gd name="connsiteY33" fmla="*/ 5293 h 10000"/>
              <a:gd name="connsiteX34" fmla="*/ 502 w 9999"/>
              <a:gd name="connsiteY34" fmla="*/ 5244 h 10000"/>
              <a:gd name="connsiteX35" fmla="*/ 833 w 9999"/>
              <a:gd name="connsiteY35" fmla="*/ 5329 h 10000"/>
              <a:gd name="connsiteX36" fmla="*/ 1640 w 9999"/>
              <a:gd name="connsiteY36" fmla="*/ 5915 h 10000"/>
              <a:gd name="connsiteX37" fmla="*/ 2443 w 9999"/>
              <a:gd name="connsiteY37" fmla="*/ 5329 h 10000"/>
              <a:gd name="connsiteX38" fmla="*/ 2818 w 9999"/>
              <a:gd name="connsiteY38" fmla="*/ 5244 h 10000"/>
              <a:gd name="connsiteX39" fmla="*/ 2875 w 9999"/>
              <a:gd name="connsiteY39" fmla="*/ 5293 h 10000"/>
              <a:gd name="connsiteX40" fmla="*/ 3029 w 9999"/>
              <a:gd name="connsiteY40" fmla="*/ 5768 h 10000"/>
              <a:gd name="connsiteX41" fmla="*/ 3022 w 9999"/>
              <a:gd name="connsiteY41" fmla="*/ 6037 h 10000"/>
              <a:gd name="connsiteX42" fmla="*/ 3853 w 9999"/>
              <a:gd name="connsiteY42" fmla="*/ 7671 h 10000"/>
              <a:gd name="connsiteX43" fmla="*/ 3993 w 9999"/>
              <a:gd name="connsiteY43" fmla="*/ 7976 h 10000"/>
              <a:gd name="connsiteX44" fmla="*/ 3993 w 9999"/>
              <a:gd name="connsiteY44" fmla="*/ 10000 h 10000"/>
              <a:gd name="connsiteX45" fmla="*/ 4081 w 9999"/>
              <a:gd name="connsiteY45" fmla="*/ 10000 h 10000"/>
              <a:gd name="connsiteX46" fmla="*/ 4081 w 9999"/>
              <a:gd name="connsiteY46" fmla="*/ 7829 h 10000"/>
              <a:gd name="connsiteX47" fmla="*/ 4148 w 9999"/>
              <a:gd name="connsiteY47" fmla="*/ 7720 h 10000"/>
              <a:gd name="connsiteX48" fmla="*/ 5197 w 9999"/>
              <a:gd name="connsiteY48" fmla="*/ 5915 h 10000"/>
              <a:gd name="connsiteX49" fmla="*/ 5191 w 9999"/>
              <a:gd name="connsiteY49" fmla="*/ 5732 h 10000"/>
              <a:gd name="connsiteX50" fmla="*/ 5323 w 9999"/>
              <a:gd name="connsiteY50" fmla="*/ 5305 h 10000"/>
              <a:gd name="connsiteX51" fmla="*/ 5381 w 9999"/>
              <a:gd name="connsiteY51" fmla="*/ 5256 h 10000"/>
              <a:gd name="connsiteX52" fmla="*/ 5706 w 9999"/>
              <a:gd name="connsiteY52" fmla="*/ 5329 h 10000"/>
              <a:gd name="connsiteX53" fmla="*/ 6507 w 9999"/>
              <a:gd name="connsiteY53" fmla="*/ 5915 h 10000"/>
              <a:gd name="connsiteX54" fmla="*/ 7323 w 9999"/>
              <a:gd name="connsiteY54" fmla="*/ 5305 h 10000"/>
              <a:gd name="connsiteX55" fmla="*/ 7668 w 9999"/>
              <a:gd name="connsiteY55" fmla="*/ 5207 h 10000"/>
              <a:gd name="connsiteX56" fmla="*/ 7690 w 9999"/>
              <a:gd name="connsiteY56" fmla="*/ 5232 h 10000"/>
              <a:gd name="connsiteX57" fmla="*/ 7831 w 9999"/>
              <a:gd name="connsiteY57" fmla="*/ 5683 h 10000"/>
              <a:gd name="connsiteX58" fmla="*/ 7831 w 9999"/>
              <a:gd name="connsiteY58" fmla="*/ 6134 h 10000"/>
              <a:gd name="connsiteX59" fmla="*/ 8778 w 9999"/>
              <a:gd name="connsiteY59" fmla="*/ 7707 h 10000"/>
              <a:gd name="connsiteX60" fmla="*/ 8830 w 9999"/>
              <a:gd name="connsiteY60" fmla="*/ 7817 h 10000"/>
              <a:gd name="connsiteX61" fmla="*/ 8830 w 9999"/>
              <a:gd name="connsiteY61" fmla="*/ 10000 h 10000"/>
              <a:gd name="connsiteX62" fmla="*/ 8925 w 9999"/>
              <a:gd name="connsiteY62" fmla="*/ 10000 h 10000"/>
              <a:gd name="connsiteX63" fmla="*/ 8925 w 9999"/>
              <a:gd name="connsiteY63" fmla="*/ 8000 h 10000"/>
              <a:gd name="connsiteX64" fmla="*/ 9080 w 9999"/>
              <a:gd name="connsiteY64" fmla="*/ 7707 h 10000"/>
              <a:gd name="connsiteX65" fmla="*/ 9999 w 9999"/>
              <a:gd name="connsiteY65" fmla="*/ 5854 h 10000"/>
              <a:gd name="connsiteX0" fmla="*/ 9569 w 9569"/>
              <a:gd name="connsiteY0" fmla="*/ 5854 h 10000"/>
              <a:gd name="connsiteX1" fmla="*/ 8524 w 9569"/>
              <a:gd name="connsiteY1" fmla="*/ 4122 h 10000"/>
              <a:gd name="connsiteX2" fmla="*/ 7641 w 9569"/>
              <a:gd name="connsiteY2" fmla="*/ 4768 h 10000"/>
              <a:gd name="connsiteX3" fmla="*/ 7290 w 9569"/>
              <a:gd name="connsiteY3" fmla="*/ 4878 h 10000"/>
              <a:gd name="connsiteX4" fmla="*/ 7281 w 9569"/>
              <a:gd name="connsiteY4" fmla="*/ 4866 h 10000"/>
              <a:gd name="connsiteX5" fmla="*/ 7151 w 9569"/>
              <a:gd name="connsiteY5" fmla="*/ 4415 h 10000"/>
              <a:gd name="connsiteX6" fmla="*/ 7164 w 9569"/>
              <a:gd name="connsiteY6" fmla="*/ 3939 h 10000"/>
              <a:gd name="connsiteX7" fmla="*/ 6150 w 9569"/>
              <a:gd name="connsiteY7" fmla="*/ 2317 h 10000"/>
              <a:gd name="connsiteX8" fmla="*/ 6121 w 9569"/>
              <a:gd name="connsiteY8" fmla="*/ 2317 h 10000"/>
              <a:gd name="connsiteX9" fmla="*/ 6121 w 9569"/>
              <a:gd name="connsiteY9" fmla="*/ 0 h 10000"/>
              <a:gd name="connsiteX10" fmla="*/ 6026 w 9569"/>
              <a:gd name="connsiteY10" fmla="*/ 0 h 10000"/>
              <a:gd name="connsiteX11" fmla="*/ 6026 w 9569"/>
              <a:gd name="connsiteY11" fmla="*/ 1854 h 10000"/>
              <a:gd name="connsiteX12" fmla="*/ 5798 w 9569"/>
              <a:gd name="connsiteY12" fmla="*/ 2366 h 10000"/>
              <a:gd name="connsiteX13" fmla="*/ 4989 w 9569"/>
              <a:gd name="connsiteY13" fmla="*/ 4110 h 10000"/>
              <a:gd name="connsiteX14" fmla="*/ 5011 w 9569"/>
              <a:gd name="connsiteY14" fmla="*/ 4463 h 10000"/>
              <a:gd name="connsiteX15" fmla="*/ 4886 w 9569"/>
              <a:gd name="connsiteY15" fmla="*/ 4939 h 10000"/>
              <a:gd name="connsiteX16" fmla="*/ 4547 w 9569"/>
              <a:gd name="connsiteY16" fmla="*/ 4829 h 10000"/>
              <a:gd name="connsiteX17" fmla="*/ 3680 w 9569"/>
              <a:gd name="connsiteY17" fmla="*/ 4110 h 10000"/>
              <a:gd name="connsiteX18" fmla="*/ 2834 w 9569"/>
              <a:gd name="connsiteY18" fmla="*/ 4793 h 10000"/>
              <a:gd name="connsiteX19" fmla="*/ 2444 w 9569"/>
              <a:gd name="connsiteY19" fmla="*/ 4915 h 10000"/>
              <a:gd name="connsiteX20" fmla="*/ 2430 w 9569"/>
              <a:gd name="connsiteY20" fmla="*/ 4902 h 10000"/>
              <a:gd name="connsiteX21" fmla="*/ 2282 w 9569"/>
              <a:gd name="connsiteY21" fmla="*/ 4402 h 10000"/>
              <a:gd name="connsiteX22" fmla="*/ 2289 w 9569"/>
              <a:gd name="connsiteY22" fmla="*/ 3951 h 10000"/>
              <a:gd name="connsiteX23" fmla="*/ 1274 w 9569"/>
              <a:gd name="connsiteY23" fmla="*/ 2317 h 10000"/>
              <a:gd name="connsiteX24" fmla="*/ 1274 w 9569"/>
              <a:gd name="connsiteY24" fmla="*/ 2317 h 10000"/>
              <a:gd name="connsiteX25" fmla="*/ 1274 w 9569"/>
              <a:gd name="connsiteY25" fmla="*/ 0 h 10000"/>
              <a:gd name="connsiteX26" fmla="*/ 1187 w 9569"/>
              <a:gd name="connsiteY26" fmla="*/ 0 h 10000"/>
              <a:gd name="connsiteX27" fmla="*/ 1187 w 9569"/>
              <a:gd name="connsiteY27" fmla="*/ 1841 h 10000"/>
              <a:gd name="connsiteX28" fmla="*/ 937 w 9569"/>
              <a:gd name="connsiteY28" fmla="*/ 2366 h 10000"/>
              <a:gd name="connsiteX29" fmla="*/ 121 w 9569"/>
              <a:gd name="connsiteY29" fmla="*/ 4110 h 10000"/>
              <a:gd name="connsiteX30" fmla="*/ 158 w 9569"/>
              <a:gd name="connsiteY30" fmla="*/ 4598 h 10000"/>
              <a:gd name="connsiteX31" fmla="*/ 11 w 9569"/>
              <a:gd name="connsiteY31" fmla="*/ 4927 h 10000"/>
              <a:gd name="connsiteX32" fmla="*/ 19 w 9569"/>
              <a:gd name="connsiteY32" fmla="*/ 5293 h 10000"/>
              <a:gd name="connsiteX33" fmla="*/ 71 w 9569"/>
              <a:gd name="connsiteY33" fmla="*/ 5244 h 10000"/>
              <a:gd name="connsiteX34" fmla="*/ 402 w 9569"/>
              <a:gd name="connsiteY34" fmla="*/ 5329 h 10000"/>
              <a:gd name="connsiteX35" fmla="*/ 1209 w 9569"/>
              <a:gd name="connsiteY35" fmla="*/ 5915 h 10000"/>
              <a:gd name="connsiteX36" fmla="*/ 2012 w 9569"/>
              <a:gd name="connsiteY36" fmla="*/ 5329 h 10000"/>
              <a:gd name="connsiteX37" fmla="*/ 2387 w 9569"/>
              <a:gd name="connsiteY37" fmla="*/ 5244 h 10000"/>
              <a:gd name="connsiteX38" fmla="*/ 2444 w 9569"/>
              <a:gd name="connsiteY38" fmla="*/ 5293 h 10000"/>
              <a:gd name="connsiteX39" fmla="*/ 2598 w 9569"/>
              <a:gd name="connsiteY39" fmla="*/ 5768 h 10000"/>
              <a:gd name="connsiteX40" fmla="*/ 2591 w 9569"/>
              <a:gd name="connsiteY40" fmla="*/ 6037 h 10000"/>
              <a:gd name="connsiteX41" fmla="*/ 3422 w 9569"/>
              <a:gd name="connsiteY41" fmla="*/ 7671 h 10000"/>
              <a:gd name="connsiteX42" fmla="*/ 3562 w 9569"/>
              <a:gd name="connsiteY42" fmla="*/ 7976 h 10000"/>
              <a:gd name="connsiteX43" fmla="*/ 3562 w 9569"/>
              <a:gd name="connsiteY43" fmla="*/ 10000 h 10000"/>
              <a:gd name="connsiteX44" fmla="*/ 3650 w 9569"/>
              <a:gd name="connsiteY44" fmla="*/ 10000 h 10000"/>
              <a:gd name="connsiteX45" fmla="*/ 3650 w 9569"/>
              <a:gd name="connsiteY45" fmla="*/ 7829 h 10000"/>
              <a:gd name="connsiteX46" fmla="*/ 3717 w 9569"/>
              <a:gd name="connsiteY46" fmla="*/ 7720 h 10000"/>
              <a:gd name="connsiteX47" fmla="*/ 4767 w 9569"/>
              <a:gd name="connsiteY47" fmla="*/ 5915 h 10000"/>
              <a:gd name="connsiteX48" fmla="*/ 4761 w 9569"/>
              <a:gd name="connsiteY48" fmla="*/ 5732 h 10000"/>
              <a:gd name="connsiteX49" fmla="*/ 4893 w 9569"/>
              <a:gd name="connsiteY49" fmla="*/ 5305 h 10000"/>
              <a:gd name="connsiteX50" fmla="*/ 4951 w 9569"/>
              <a:gd name="connsiteY50" fmla="*/ 5256 h 10000"/>
              <a:gd name="connsiteX51" fmla="*/ 5276 w 9569"/>
              <a:gd name="connsiteY51" fmla="*/ 5329 h 10000"/>
              <a:gd name="connsiteX52" fmla="*/ 6077 w 9569"/>
              <a:gd name="connsiteY52" fmla="*/ 5915 h 10000"/>
              <a:gd name="connsiteX53" fmla="*/ 6893 w 9569"/>
              <a:gd name="connsiteY53" fmla="*/ 5305 h 10000"/>
              <a:gd name="connsiteX54" fmla="*/ 7238 w 9569"/>
              <a:gd name="connsiteY54" fmla="*/ 5207 h 10000"/>
              <a:gd name="connsiteX55" fmla="*/ 7260 w 9569"/>
              <a:gd name="connsiteY55" fmla="*/ 5232 h 10000"/>
              <a:gd name="connsiteX56" fmla="*/ 7401 w 9569"/>
              <a:gd name="connsiteY56" fmla="*/ 5683 h 10000"/>
              <a:gd name="connsiteX57" fmla="*/ 7401 w 9569"/>
              <a:gd name="connsiteY57" fmla="*/ 6134 h 10000"/>
              <a:gd name="connsiteX58" fmla="*/ 8348 w 9569"/>
              <a:gd name="connsiteY58" fmla="*/ 7707 h 10000"/>
              <a:gd name="connsiteX59" fmla="*/ 8400 w 9569"/>
              <a:gd name="connsiteY59" fmla="*/ 7817 h 10000"/>
              <a:gd name="connsiteX60" fmla="*/ 8400 w 9569"/>
              <a:gd name="connsiteY60" fmla="*/ 10000 h 10000"/>
              <a:gd name="connsiteX61" fmla="*/ 8495 w 9569"/>
              <a:gd name="connsiteY61" fmla="*/ 10000 h 10000"/>
              <a:gd name="connsiteX62" fmla="*/ 8495 w 9569"/>
              <a:gd name="connsiteY62" fmla="*/ 8000 h 10000"/>
              <a:gd name="connsiteX63" fmla="*/ 8650 w 9569"/>
              <a:gd name="connsiteY63" fmla="*/ 7707 h 10000"/>
              <a:gd name="connsiteX64" fmla="*/ 9569 w 9569"/>
              <a:gd name="connsiteY64" fmla="*/ 5854 h 10000"/>
              <a:gd name="connsiteX0" fmla="*/ 10019 w 10019"/>
              <a:gd name="connsiteY0" fmla="*/ 5854 h 10000"/>
              <a:gd name="connsiteX1" fmla="*/ 8927 w 10019"/>
              <a:gd name="connsiteY1" fmla="*/ 4122 h 10000"/>
              <a:gd name="connsiteX2" fmla="*/ 8004 w 10019"/>
              <a:gd name="connsiteY2" fmla="*/ 4768 h 10000"/>
              <a:gd name="connsiteX3" fmla="*/ 7637 w 10019"/>
              <a:gd name="connsiteY3" fmla="*/ 4878 h 10000"/>
              <a:gd name="connsiteX4" fmla="*/ 7628 w 10019"/>
              <a:gd name="connsiteY4" fmla="*/ 4866 h 10000"/>
              <a:gd name="connsiteX5" fmla="*/ 7492 w 10019"/>
              <a:gd name="connsiteY5" fmla="*/ 4415 h 10000"/>
              <a:gd name="connsiteX6" fmla="*/ 7506 w 10019"/>
              <a:gd name="connsiteY6" fmla="*/ 3939 h 10000"/>
              <a:gd name="connsiteX7" fmla="*/ 6446 w 10019"/>
              <a:gd name="connsiteY7" fmla="*/ 2317 h 10000"/>
              <a:gd name="connsiteX8" fmla="*/ 6416 w 10019"/>
              <a:gd name="connsiteY8" fmla="*/ 2317 h 10000"/>
              <a:gd name="connsiteX9" fmla="*/ 6416 w 10019"/>
              <a:gd name="connsiteY9" fmla="*/ 0 h 10000"/>
              <a:gd name="connsiteX10" fmla="*/ 6316 w 10019"/>
              <a:gd name="connsiteY10" fmla="*/ 0 h 10000"/>
              <a:gd name="connsiteX11" fmla="*/ 6316 w 10019"/>
              <a:gd name="connsiteY11" fmla="*/ 1854 h 10000"/>
              <a:gd name="connsiteX12" fmla="*/ 6078 w 10019"/>
              <a:gd name="connsiteY12" fmla="*/ 2366 h 10000"/>
              <a:gd name="connsiteX13" fmla="*/ 5233 w 10019"/>
              <a:gd name="connsiteY13" fmla="*/ 4110 h 10000"/>
              <a:gd name="connsiteX14" fmla="*/ 5256 w 10019"/>
              <a:gd name="connsiteY14" fmla="*/ 4463 h 10000"/>
              <a:gd name="connsiteX15" fmla="*/ 5125 w 10019"/>
              <a:gd name="connsiteY15" fmla="*/ 4939 h 10000"/>
              <a:gd name="connsiteX16" fmla="*/ 4771 w 10019"/>
              <a:gd name="connsiteY16" fmla="*/ 4829 h 10000"/>
              <a:gd name="connsiteX17" fmla="*/ 3865 w 10019"/>
              <a:gd name="connsiteY17" fmla="*/ 4110 h 10000"/>
              <a:gd name="connsiteX18" fmla="*/ 2981 w 10019"/>
              <a:gd name="connsiteY18" fmla="*/ 4793 h 10000"/>
              <a:gd name="connsiteX19" fmla="*/ 2573 w 10019"/>
              <a:gd name="connsiteY19" fmla="*/ 4915 h 10000"/>
              <a:gd name="connsiteX20" fmla="*/ 2558 w 10019"/>
              <a:gd name="connsiteY20" fmla="*/ 4902 h 10000"/>
              <a:gd name="connsiteX21" fmla="*/ 2404 w 10019"/>
              <a:gd name="connsiteY21" fmla="*/ 4402 h 10000"/>
              <a:gd name="connsiteX22" fmla="*/ 2411 w 10019"/>
              <a:gd name="connsiteY22" fmla="*/ 3951 h 10000"/>
              <a:gd name="connsiteX23" fmla="*/ 1350 w 10019"/>
              <a:gd name="connsiteY23" fmla="*/ 2317 h 10000"/>
              <a:gd name="connsiteX24" fmla="*/ 1350 w 10019"/>
              <a:gd name="connsiteY24" fmla="*/ 2317 h 10000"/>
              <a:gd name="connsiteX25" fmla="*/ 1350 w 10019"/>
              <a:gd name="connsiteY25" fmla="*/ 0 h 10000"/>
              <a:gd name="connsiteX26" fmla="*/ 1259 w 10019"/>
              <a:gd name="connsiteY26" fmla="*/ 0 h 10000"/>
              <a:gd name="connsiteX27" fmla="*/ 1259 w 10019"/>
              <a:gd name="connsiteY27" fmla="*/ 1841 h 10000"/>
              <a:gd name="connsiteX28" fmla="*/ 998 w 10019"/>
              <a:gd name="connsiteY28" fmla="*/ 2366 h 10000"/>
              <a:gd name="connsiteX29" fmla="*/ 145 w 10019"/>
              <a:gd name="connsiteY29" fmla="*/ 4110 h 10000"/>
              <a:gd name="connsiteX30" fmla="*/ 184 w 10019"/>
              <a:gd name="connsiteY30" fmla="*/ 4598 h 10000"/>
              <a:gd name="connsiteX31" fmla="*/ 30 w 10019"/>
              <a:gd name="connsiteY31" fmla="*/ 4927 h 10000"/>
              <a:gd name="connsiteX32" fmla="*/ 39 w 10019"/>
              <a:gd name="connsiteY32" fmla="*/ 5293 h 10000"/>
              <a:gd name="connsiteX33" fmla="*/ 439 w 10019"/>
              <a:gd name="connsiteY33" fmla="*/ 5329 h 10000"/>
              <a:gd name="connsiteX34" fmla="*/ 1282 w 10019"/>
              <a:gd name="connsiteY34" fmla="*/ 5915 h 10000"/>
              <a:gd name="connsiteX35" fmla="*/ 2122 w 10019"/>
              <a:gd name="connsiteY35" fmla="*/ 5329 h 10000"/>
              <a:gd name="connsiteX36" fmla="*/ 2514 w 10019"/>
              <a:gd name="connsiteY36" fmla="*/ 5244 h 10000"/>
              <a:gd name="connsiteX37" fmla="*/ 2573 w 10019"/>
              <a:gd name="connsiteY37" fmla="*/ 5293 h 10000"/>
              <a:gd name="connsiteX38" fmla="*/ 2734 w 10019"/>
              <a:gd name="connsiteY38" fmla="*/ 5768 h 10000"/>
              <a:gd name="connsiteX39" fmla="*/ 2727 w 10019"/>
              <a:gd name="connsiteY39" fmla="*/ 6037 h 10000"/>
              <a:gd name="connsiteX40" fmla="*/ 3595 w 10019"/>
              <a:gd name="connsiteY40" fmla="*/ 7671 h 10000"/>
              <a:gd name="connsiteX41" fmla="*/ 3741 w 10019"/>
              <a:gd name="connsiteY41" fmla="*/ 7976 h 10000"/>
              <a:gd name="connsiteX42" fmla="*/ 3741 w 10019"/>
              <a:gd name="connsiteY42" fmla="*/ 10000 h 10000"/>
              <a:gd name="connsiteX43" fmla="*/ 3833 w 10019"/>
              <a:gd name="connsiteY43" fmla="*/ 10000 h 10000"/>
              <a:gd name="connsiteX44" fmla="*/ 3833 w 10019"/>
              <a:gd name="connsiteY44" fmla="*/ 7829 h 10000"/>
              <a:gd name="connsiteX45" fmla="*/ 3903 w 10019"/>
              <a:gd name="connsiteY45" fmla="*/ 7720 h 10000"/>
              <a:gd name="connsiteX46" fmla="*/ 5001 w 10019"/>
              <a:gd name="connsiteY46" fmla="*/ 5915 h 10000"/>
              <a:gd name="connsiteX47" fmla="*/ 4994 w 10019"/>
              <a:gd name="connsiteY47" fmla="*/ 5732 h 10000"/>
              <a:gd name="connsiteX48" fmla="*/ 5132 w 10019"/>
              <a:gd name="connsiteY48" fmla="*/ 5305 h 10000"/>
              <a:gd name="connsiteX49" fmla="*/ 5193 w 10019"/>
              <a:gd name="connsiteY49" fmla="*/ 5256 h 10000"/>
              <a:gd name="connsiteX50" fmla="*/ 5533 w 10019"/>
              <a:gd name="connsiteY50" fmla="*/ 5329 h 10000"/>
              <a:gd name="connsiteX51" fmla="*/ 6370 w 10019"/>
              <a:gd name="connsiteY51" fmla="*/ 5915 h 10000"/>
              <a:gd name="connsiteX52" fmla="*/ 7222 w 10019"/>
              <a:gd name="connsiteY52" fmla="*/ 5305 h 10000"/>
              <a:gd name="connsiteX53" fmla="*/ 7583 w 10019"/>
              <a:gd name="connsiteY53" fmla="*/ 5207 h 10000"/>
              <a:gd name="connsiteX54" fmla="*/ 7606 w 10019"/>
              <a:gd name="connsiteY54" fmla="*/ 5232 h 10000"/>
              <a:gd name="connsiteX55" fmla="*/ 7753 w 10019"/>
              <a:gd name="connsiteY55" fmla="*/ 5683 h 10000"/>
              <a:gd name="connsiteX56" fmla="*/ 7753 w 10019"/>
              <a:gd name="connsiteY56" fmla="*/ 6134 h 10000"/>
              <a:gd name="connsiteX57" fmla="*/ 8743 w 10019"/>
              <a:gd name="connsiteY57" fmla="*/ 7707 h 10000"/>
              <a:gd name="connsiteX58" fmla="*/ 8797 w 10019"/>
              <a:gd name="connsiteY58" fmla="*/ 7817 h 10000"/>
              <a:gd name="connsiteX59" fmla="*/ 8797 w 10019"/>
              <a:gd name="connsiteY59" fmla="*/ 10000 h 10000"/>
              <a:gd name="connsiteX60" fmla="*/ 8897 w 10019"/>
              <a:gd name="connsiteY60" fmla="*/ 10000 h 10000"/>
              <a:gd name="connsiteX61" fmla="*/ 8897 w 10019"/>
              <a:gd name="connsiteY61" fmla="*/ 8000 h 10000"/>
              <a:gd name="connsiteX62" fmla="*/ 9059 w 10019"/>
              <a:gd name="connsiteY62" fmla="*/ 7707 h 10000"/>
              <a:gd name="connsiteX63" fmla="*/ 10019 w 10019"/>
              <a:gd name="connsiteY63" fmla="*/ 5854 h 10000"/>
              <a:gd name="connsiteX0" fmla="*/ 9987 w 9987"/>
              <a:gd name="connsiteY0" fmla="*/ 5854 h 10000"/>
              <a:gd name="connsiteX1" fmla="*/ 8895 w 9987"/>
              <a:gd name="connsiteY1" fmla="*/ 4122 h 10000"/>
              <a:gd name="connsiteX2" fmla="*/ 7972 w 9987"/>
              <a:gd name="connsiteY2" fmla="*/ 4768 h 10000"/>
              <a:gd name="connsiteX3" fmla="*/ 7605 w 9987"/>
              <a:gd name="connsiteY3" fmla="*/ 4878 h 10000"/>
              <a:gd name="connsiteX4" fmla="*/ 7596 w 9987"/>
              <a:gd name="connsiteY4" fmla="*/ 4866 h 10000"/>
              <a:gd name="connsiteX5" fmla="*/ 7460 w 9987"/>
              <a:gd name="connsiteY5" fmla="*/ 4415 h 10000"/>
              <a:gd name="connsiteX6" fmla="*/ 7474 w 9987"/>
              <a:gd name="connsiteY6" fmla="*/ 3939 h 10000"/>
              <a:gd name="connsiteX7" fmla="*/ 6414 w 9987"/>
              <a:gd name="connsiteY7" fmla="*/ 2317 h 10000"/>
              <a:gd name="connsiteX8" fmla="*/ 6384 w 9987"/>
              <a:gd name="connsiteY8" fmla="*/ 2317 h 10000"/>
              <a:gd name="connsiteX9" fmla="*/ 6384 w 9987"/>
              <a:gd name="connsiteY9" fmla="*/ 0 h 10000"/>
              <a:gd name="connsiteX10" fmla="*/ 6284 w 9987"/>
              <a:gd name="connsiteY10" fmla="*/ 0 h 10000"/>
              <a:gd name="connsiteX11" fmla="*/ 6284 w 9987"/>
              <a:gd name="connsiteY11" fmla="*/ 1854 h 10000"/>
              <a:gd name="connsiteX12" fmla="*/ 6046 w 9987"/>
              <a:gd name="connsiteY12" fmla="*/ 2366 h 10000"/>
              <a:gd name="connsiteX13" fmla="*/ 5201 w 9987"/>
              <a:gd name="connsiteY13" fmla="*/ 4110 h 10000"/>
              <a:gd name="connsiteX14" fmla="*/ 5224 w 9987"/>
              <a:gd name="connsiteY14" fmla="*/ 4463 h 10000"/>
              <a:gd name="connsiteX15" fmla="*/ 5093 w 9987"/>
              <a:gd name="connsiteY15" fmla="*/ 4939 h 10000"/>
              <a:gd name="connsiteX16" fmla="*/ 4739 w 9987"/>
              <a:gd name="connsiteY16" fmla="*/ 4829 h 10000"/>
              <a:gd name="connsiteX17" fmla="*/ 3833 w 9987"/>
              <a:gd name="connsiteY17" fmla="*/ 4110 h 10000"/>
              <a:gd name="connsiteX18" fmla="*/ 2949 w 9987"/>
              <a:gd name="connsiteY18" fmla="*/ 4793 h 10000"/>
              <a:gd name="connsiteX19" fmla="*/ 2541 w 9987"/>
              <a:gd name="connsiteY19" fmla="*/ 4915 h 10000"/>
              <a:gd name="connsiteX20" fmla="*/ 2526 w 9987"/>
              <a:gd name="connsiteY20" fmla="*/ 4902 h 10000"/>
              <a:gd name="connsiteX21" fmla="*/ 2372 w 9987"/>
              <a:gd name="connsiteY21" fmla="*/ 4402 h 10000"/>
              <a:gd name="connsiteX22" fmla="*/ 2379 w 9987"/>
              <a:gd name="connsiteY22" fmla="*/ 3951 h 10000"/>
              <a:gd name="connsiteX23" fmla="*/ 1318 w 9987"/>
              <a:gd name="connsiteY23" fmla="*/ 2317 h 10000"/>
              <a:gd name="connsiteX24" fmla="*/ 1318 w 9987"/>
              <a:gd name="connsiteY24" fmla="*/ 2317 h 10000"/>
              <a:gd name="connsiteX25" fmla="*/ 1318 w 9987"/>
              <a:gd name="connsiteY25" fmla="*/ 0 h 10000"/>
              <a:gd name="connsiteX26" fmla="*/ 1227 w 9987"/>
              <a:gd name="connsiteY26" fmla="*/ 0 h 10000"/>
              <a:gd name="connsiteX27" fmla="*/ 1227 w 9987"/>
              <a:gd name="connsiteY27" fmla="*/ 1841 h 10000"/>
              <a:gd name="connsiteX28" fmla="*/ 966 w 9987"/>
              <a:gd name="connsiteY28" fmla="*/ 2366 h 10000"/>
              <a:gd name="connsiteX29" fmla="*/ 113 w 9987"/>
              <a:gd name="connsiteY29" fmla="*/ 4110 h 10000"/>
              <a:gd name="connsiteX30" fmla="*/ 152 w 9987"/>
              <a:gd name="connsiteY30" fmla="*/ 4598 h 10000"/>
              <a:gd name="connsiteX31" fmla="*/ 7 w 9987"/>
              <a:gd name="connsiteY31" fmla="*/ 5293 h 10000"/>
              <a:gd name="connsiteX32" fmla="*/ 407 w 9987"/>
              <a:gd name="connsiteY32" fmla="*/ 5329 h 10000"/>
              <a:gd name="connsiteX33" fmla="*/ 1250 w 9987"/>
              <a:gd name="connsiteY33" fmla="*/ 5915 h 10000"/>
              <a:gd name="connsiteX34" fmla="*/ 2090 w 9987"/>
              <a:gd name="connsiteY34" fmla="*/ 5329 h 10000"/>
              <a:gd name="connsiteX35" fmla="*/ 2482 w 9987"/>
              <a:gd name="connsiteY35" fmla="*/ 5244 h 10000"/>
              <a:gd name="connsiteX36" fmla="*/ 2541 w 9987"/>
              <a:gd name="connsiteY36" fmla="*/ 5293 h 10000"/>
              <a:gd name="connsiteX37" fmla="*/ 2702 w 9987"/>
              <a:gd name="connsiteY37" fmla="*/ 5768 h 10000"/>
              <a:gd name="connsiteX38" fmla="*/ 2695 w 9987"/>
              <a:gd name="connsiteY38" fmla="*/ 6037 h 10000"/>
              <a:gd name="connsiteX39" fmla="*/ 3563 w 9987"/>
              <a:gd name="connsiteY39" fmla="*/ 7671 h 10000"/>
              <a:gd name="connsiteX40" fmla="*/ 3709 w 9987"/>
              <a:gd name="connsiteY40" fmla="*/ 7976 h 10000"/>
              <a:gd name="connsiteX41" fmla="*/ 3709 w 9987"/>
              <a:gd name="connsiteY41" fmla="*/ 10000 h 10000"/>
              <a:gd name="connsiteX42" fmla="*/ 3801 w 9987"/>
              <a:gd name="connsiteY42" fmla="*/ 10000 h 10000"/>
              <a:gd name="connsiteX43" fmla="*/ 3801 w 9987"/>
              <a:gd name="connsiteY43" fmla="*/ 7829 h 10000"/>
              <a:gd name="connsiteX44" fmla="*/ 3871 w 9987"/>
              <a:gd name="connsiteY44" fmla="*/ 7720 h 10000"/>
              <a:gd name="connsiteX45" fmla="*/ 4969 w 9987"/>
              <a:gd name="connsiteY45" fmla="*/ 5915 h 10000"/>
              <a:gd name="connsiteX46" fmla="*/ 4962 w 9987"/>
              <a:gd name="connsiteY46" fmla="*/ 5732 h 10000"/>
              <a:gd name="connsiteX47" fmla="*/ 5100 w 9987"/>
              <a:gd name="connsiteY47" fmla="*/ 5305 h 10000"/>
              <a:gd name="connsiteX48" fmla="*/ 5161 w 9987"/>
              <a:gd name="connsiteY48" fmla="*/ 5256 h 10000"/>
              <a:gd name="connsiteX49" fmla="*/ 5501 w 9987"/>
              <a:gd name="connsiteY49" fmla="*/ 5329 h 10000"/>
              <a:gd name="connsiteX50" fmla="*/ 6338 w 9987"/>
              <a:gd name="connsiteY50" fmla="*/ 5915 h 10000"/>
              <a:gd name="connsiteX51" fmla="*/ 7190 w 9987"/>
              <a:gd name="connsiteY51" fmla="*/ 5305 h 10000"/>
              <a:gd name="connsiteX52" fmla="*/ 7551 w 9987"/>
              <a:gd name="connsiteY52" fmla="*/ 5207 h 10000"/>
              <a:gd name="connsiteX53" fmla="*/ 7574 w 9987"/>
              <a:gd name="connsiteY53" fmla="*/ 5232 h 10000"/>
              <a:gd name="connsiteX54" fmla="*/ 7721 w 9987"/>
              <a:gd name="connsiteY54" fmla="*/ 5683 h 10000"/>
              <a:gd name="connsiteX55" fmla="*/ 7721 w 9987"/>
              <a:gd name="connsiteY55" fmla="*/ 6134 h 10000"/>
              <a:gd name="connsiteX56" fmla="*/ 8711 w 9987"/>
              <a:gd name="connsiteY56" fmla="*/ 7707 h 10000"/>
              <a:gd name="connsiteX57" fmla="*/ 8765 w 9987"/>
              <a:gd name="connsiteY57" fmla="*/ 7817 h 10000"/>
              <a:gd name="connsiteX58" fmla="*/ 8765 w 9987"/>
              <a:gd name="connsiteY58" fmla="*/ 10000 h 10000"/>
              <a:gd name="connsiteX59" fmla="*/ 8865 w 9987"/>
              <a:gd name="connsiteY59" fmla="*/ 10000 h 10000"/>
              <a:gd name="connsiteX60" fmla="*/ 8865 w 9987"/>
              <a:gd name="connsiteY60" fmla="*/ 8000 h 10000"/>
              <a:gd name="connsiteX61" fmla="*/ 9027 w 9987"/>
              <a:gd name="connsiteY61" fmla="*/ 7707 h 10000"/>
              <a:gd name="connsiteX62" fmla="*/ 9987 w 9987"/>
              <a:gd name="connsiteY62" fmla="*/ 5854 h 10000"/>
              <a:gd name="connsiteX0" fmla="*/ 9887 w 9887"/>
              <a:gd name="connsiteY0" fmla="*/ 5854 h 10000"/>
              <a:gd name="connsiteX1" fmla="*/ 8794 w 9887"/>
              <a:gd name="connsiteY1" fmla="*/ 4122 h 10000"/>
              <a:gd name="connsiteX2" fmla="*/ 7869 w 9887"/>
              <a:gd name="connsiteY2" fmla="*/ 4768 h 10000"/>
              <a:gd name="connsiteX3" fmla="*/ 7502 w 9887"/>
              <a:gd name="connsiteY3" fmla="*/ 4878 h 10000"/>
              <a:gd name="connsiteX4" fmla="*/ 7493 w 9887"/>
              <a:gd name="connsiteY4" fmla="*/ 4866 h 10000"/>
              <a:gd name="connsiteX5" fmla="*/ 7357 w 9887"/>
              <a:gd name="connsiteY5" fmla="*/ 4415 h 10000"/>
              <a:gd name="connsiteX6" fmla="*/ 7371 w 9887"/>
              <a:gd name="connsiteY6" fmla="*/ 3939 h 10000"/>
              <a:gd name="connsiteX7" fmla="*/ 6309 w 9887"/>
              <a:gd name="connsiteY7" fmla="*/ 2317 h 10000"/>
              <a:gd name="connsiteX8" fmla="*/ 6279 w 9887"/>
              <a:gd name="connsiteY8" fmla="*/ 2317 h 10000"/>
              <a:gd name="connsiteX9" fmla="*/ 6279 w 9887"/>
              <a:gd name="connsiteY9" fmla="*/ 0 h 10000"/>
              <a:gd name="connsiteX10" fmla="*/ 6179 w 9887"/>
              <a:gd name="connsiteY10" fmla="*/ 0 h 10000"/>
              <a:gd name="connsiteX11" fmla="*/ 6179 w 9887"/>
              <a:gd name="connsiteY11" fmla="*/ 1854 h 10000"/>
              <a:gd name="connsiteX12" fmla="*/ 5941 w 9887"/>
              <a:gd name="connsiteY12" fmla="*/ 2366 h 10000"/>
              <a:gd name="connsiteX13" fmla="*/ 5095 w 9887"/>
              <a:gd name="connsiteY13" fmla="*/ 4110 h 10000"/>
              <a:gd name="connsiteX14" fmla="*/ 5118 w 9887"/>
              <a:gd name="connsiteY14" fmla="*/ 4463 h 10000"/>
              <a:gd name="connsiteX15" fmla="*/ 4987 w 9887"/>
              <a:gd name="connsiteY15" fmla="*/ 4939 h 10000"/>
              <a:gd name="connsiteX16" fmla="*/ 4632 w 9887"/>
              <a:gd name="connsiteY16" fmla="*/ 4829 h 10000"/>
              <a:gd name="connsiteX17" fmla="*/ 3725 w 9887"/>
              <a:gd name="connsiteY17" fmla="*/ 4110 h 10000"/>
              <a:gd name="connsiteX18" fmla="*/ 2840 w 9887"/>
              <a:gd name="connsiteY18" fmla="*/ 4793 h 10000"/>
              <a:gd name="connsiteX19" fmla="*/ 2431 w 9887"/>
              <a:gd name="connsiteY19" fmla="*/ 4915 h 10000"/>
              <a:gd name="connsiteX20" fmla="*/ 2416 w 9887"/>
              <a:gd name="connsiteY20" fmla="*/ 4902 h 10000"/>
              <a:gd name="connsiteX21" fmla="*/ 2262 w 9887"/>
              <a:gd name="connsiteY21" fmla="*/ 4402 h 10000"/>
              <a:gd name="connsiteX22" fmla="*/ 2269 w 9887"/>
              <a:gd name="connsiteY22" fmla="*/ 3951 h 10000"/>
              <a:gd name="connsiteX23" fmla="*/ 1207 w 9887"/>
              <a:gd name="connsiteY23" fmla="*/ 2317 h 10000"/>
              <a:gd name="connsiteX24" fmla="*/ 1207 w 9887"/>
              <a:gd name="connsiteY24" fmla="*/ 2317 h 10000"/>
              <a:gd name="connsiteX25" fmla="*/ 1207 w 9887"/>
              <a:gd name="connsiteY25" fmla="*/ 0 h 10000"/>
              <a:gd name="connsiteX26" fmla="*/ 1116 w 9887"/>
              <a:gd name="connsiteY26" fmla="*/ 0 h 10000"/>
              <a:gd name="connsiteX27" fmla="*/ 1116 w 9887"/>
              <a:gd name="connsiteY27" fmla="*/ 1841 h 10000"/>
              <a:gd name="connsiteX28" fmla="*/ 854 w 9887"/>
              <a:gd name="connsiteY28" fmla="*/ 2366 h 10000"/>
              <a:gd name="connsiteX29" fmla="*/ 0 w 9887"/>
              <a:gd name="connsiteY29" fmla="*/ 4110 h 10000"/>
              <a:gd name="connsiteX30" fmla="*/ 39 w 9887"/>
              <a:gd name="connsiteY30" fmla="*/ 4598 h 10000"/>
              <a:gd name="connsiteX31" fmla="*/ 295 w 9887"/>
              <a:gd name="connsiteY31" fmla="*/ 5329 h 10000"/>
              <a:gd name="connsiteX32" fmla="*/ 1139 w 9887"/>
              <a:gd name="connsiteY32" fmla="*/ 5915 h 10000"/>
              <a:gd name="connsiteX33" fmla="*/ 1980 w 9887"/>
              <a:gd name="connsiteY33" fmla="*/ 5329 h 10000"/>
              <a:gd name="connsiteX34" fmla="*/ 2372 w 9887"/>
              <a:gd name="connsiteY34" fmla="*/ 5244 h 10000"/>
              <a:gd name="connsiteX35" fmla="*/ 2431 w 9887"/>
              <a:gd name="connsiteY35" fmla="*/ 5293 h 10000"/>
              <a:gd name="connsiteX36" fmla="*/ 2593 w 9887"/>
              <a:gd name="connsiteY36" fmla="*/ 5768 h 10000"/>
              <a:gd name="connsiteX37" fmla="*/ 2586 w 9887"/>
              <a:gd name="connsiteY37" fmla="*/ 6037 h 10000"/>
              <a:gd name="connsiteX38" fmla="*/ 3455 w 9887"/>
              <a:gd name="connsiteY38" fmla="*/ 7671 h 10000"/>
              <a:gd name="connsiteX39" fmla="*/ 3601 w 9887"/>
              <a:gd name="connsiteY39" fmla="*/ 7976 h 10000"/>
              <a:gd name="connsiteX40" fmla="*/ 3601 w 9887"/>
              <a:gd name="connsiteY40" fmla="*/ 10000 h 10000"/>
              <a:gd name="connsiteX41" fmla="*/ 3693 w 9887"/>
              <a:gd name="connsiteY41" fmla="*/ 10000 h 10000"/>
              <a:gd name="connsiteX42" fmla="*/ 3693 w 9887"/>
              <a:gd name="connsiteY42" fmla="*/ 7829 h 10000"/>
              <a:gd name="connsiteX43" fmla="*/ 3763 w 9887"/>
              <a:gd name="connsiteY43" fmla="*/ 7720 h 10000"/>
              <a:gd name="connsiteX44" fmla="*/ 4862 w 9887"/>
              <a:gd name="connsiteY44" fmla="*/ 5915 h 10000"/>
              <a:gd name="connsiteX45" fmla="*/ 4855 w 9887"/>
              <a:gd name="connsiteY45" fmla="*/ 5732 h 10000"/>
              <a:gd name="connsiteX46" fmla="*/ 4994 w 9887"/>
              <a:gd name="connsiteY46" fmla="*/ 5305 h 10000"/>
              <a:gd name="connsiteX47" fmla="*/ 5055 w 9887"/>
              <a:gd name="connsiteY47" fmla="*/ 5256 h 10000"/>
              <a:gd name="connsiteX48" fmla="*/ 5395 w 9887"/>
              <a:gd name="connsiteY48" fmla="*/ 5329 h 10000"/>
              <a:gd name="connsiteX49" fmla="*/ 6233 w 9887"/>
              <a:gd name="connsiteY49" fmla="*/ 5915 h 10000"/>
              <a:gd name="connsiteX50" fmla="*/ 7086 w 9887"/>
              <a:gd name="connsiteY50" fmla="*/ 5305 h 10000"/>
              <a:gd name="connsiteX51" fmla="*/ 7448 w 9887"/>
              <a:gd name="connsiteY51" fmla="*/ 5207 h 10000"/>
              <a:gd name="connsiteX52" fmla="*/ 7471 w 9887"/>
              <a:gd name="connsiteY52" fmla="*/ 5232 h 10000"/>
              <a:gd name="connsiteX53" fmla="*/ 7618 w 9887"/>
              <a:gd name="connsiteY53" fmla="*/ 5683 h 10000"/>
              <a:gd name="connsiteX54" fmla="*/ 7618 w 9887"/>
              <a:gd name="connsiteY54" fmla="*/ 6134 h 10000"/>
              <a:gd name="connsiteX55" fmla="*/ 8609 w 9887"/>
              <a:gd name="connsiteY55" fmla="*/ 7707 h 10000"/>
              <a:gd name="connsiteX56" fmla="*/ 8663 w 9887"/>
              <a:gd name="connsiteY56" fmla="*/ 7817 h 10000"/>
              <a:gd name="connsiteX57" fmla="*/ 8663 w 9887"/>
              <a:gd name="connsiteY57" fmla="*/ 10000 h 10000"/>
              <a:gd name="connsiteX58" fmla="*/ 8764 w 9887"/>
              <a:gd name="connsiteY58" fmla="*/ 10000 h 10000"/>
              <a:gd name="connsiteX59" fmla="*/ 8764 w 9887"/>
              <a:gd name="connsiteY59" fmla="*/ 8000 h 10000"/>
              <a:gd name="connsiteX60" fmla="*/ 8926 w 9887"/>
              <a:gd name="connsiteY60" fmla="*/ 7707 h 10000"/>
              <a:gd name="connsiteX61" fmla="*/ 9887 w 9887"/>
              <a:gd name="connsiteY61" fmla="*/ 58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87" h="10000">
                <a:moveTo>
                  <a:pt x="9887" y="5854"/>
                </a:moveTo>
                <a:cubicBezTo>
                  <a:pt x="9864" y="4927"/>
                  <a:pt x="9388" y="4159"/>
                  <a:pt x="8794" y="4122"/>
                </a:cubicBezTo>
                <a:cubicBezTo>
                  <a:pt x="8425" y="4098"/>
                  <a:pt x="8089" y="4354"/>
                  <a:pt x="7869" y="4768"/>
                </a:cubicBezTo>
                <a:cubicBezTo>
                  <a:pt x="7778" y="4939"/>
                  <a:pt x="7626" y="4988"/>
                  <a:pt x="7502" y="4878"/>
                </a:cubicBezTo>
                <a:cubicBezTo>
                  <a:pt x="7500" y="4874"/>
                  <a:pt x="7496" y="4870"/>
                  <a:pt x="7493" y="4866"/>
                </a:cubicBezTo>
                <a:cubicBezTo>
                  <a:pt x="7387" y="4780"/>
                  <a:pt x="7341" y="4598"/>
                  <a:pt x="7357" y="4415"/>
                </a:cubicBezTo>
                <a:cubicBezTo>
                  <a:pt x="7371" y="4256"/>
                  <a:pt x="7380" y="4098"/>
                  <a:pt x="7371" y="3939"/>
                </a:cubicBezTo>
                <a:cubicBezTo>
                  <a:pt x="7317" y="3061"/>
                  <a:pt x="6863" y="2366"/>
                  <a:pt x="6309" y="2317"/>
                </a:cubicBezTo>
                <a:lnTo>
                  <a:pt x="6279" y="2317"/>
                </a:lnTo>
                <a:lnTo>
                  <a:pt x="6279" y="0"/>
                </a:lnTo>
                <a:lnTo>
                  <a:pt x="6179" y="0"/>
                </a:lnTo>
                <a:lnTo>
                  <a:pt x="6179" y="1854"/>
                </a:lnTo>
                <a:cubicBezTo>
                  <a:pt x="6179" y="2098"/>
                  <a:pt x="6086" y="2305"/>
                  <a:pt x="5941" y="2366"/>
                </a:cubicBezTo>
                <a:cubicBezTo>
                  <a:pt x="5454" y="2573"/>
                  <a:pt x="5095" y="3280"/>
                  <a:pt x="5095" y="4110"/>
                </a:cubicBezTo>
                <a:cubicBezTo>
                  <a:pt x="5095" y="4232"/>
                  <a:pt x="5101" y="4354"/>
                  <a:pt x="5118" y="4463"/>
                </a:cubicBezTo>
                <a:cubicBezTo>
                  <a:pt x="5141" y="4646"/>
                  <a:pt x="5095" y="4841"/>
                  <a:pt x="4987" y="4939"/>
                </a:cubicBezTo>
                <a:cubicBezTo>
                  <a:pt x="4870" y="5049"/>
                  <a:pt x="4717" y="5000"/>
                  <a:pt x="4632" y="4829"/>
                </a:cubicBezTo>
                <a:cubicBezTo>
                  <a:pt x="4425" y="4390"/>
                  <a:pt x="4093" y="4110"/>
                  <a:pt x="3725" y="4110"/>
                </a:cubicBezTo>
                <a:cubicBezTo>
                  <a:pt x="3363" y="4110"/>
                  <a:pt x="3048" y="4378"/>
                  <a:pt x="2840" y="4793"/>
                </a:cubicBezTo>
                <a:cubicBezTo>
                  <a:pt x="2739" y="4988"/>
                  <a:pt x="2562" y="5049"/>
                  <a:pt x="2431" y="4915"/>
                </a:cubicBezTo>
                <a:cubicBezTo>
                  <a:pt x="2426" y="4911"/>
                  <a:pt x="2421" y="4906"/>
                  <a:pt x="2416" y="4902"/>
                </a:cubicBezTo>
                <a:cubicBezTo>
                  <a:pt x="2301" y="4805"/>
                  <a:pt x="2237" y="4598"/>
                  <a:pt x="2262" y="4402"/>
                </a:cubicBezTo>
                <a:cubicBezTo>
                  <a:pt x="2280" y="4256"/>
                  <a:pt x="2280" y="4110"/>
                  <a:pt x="2269" y="3951"/>
                </a:cubicBezTo>
                <a:cubicBezTo>
                  <a:pt x="2223" y="3073"/>
                  <a:pt x="1770" y="2366"/>
                  <a:pt x="1207" y="2317"/>
                </a:cubicBezTo>
                <a:lnTo>
                  <a:pt x="1207" y="2317"/>
                </a:lnTo>
                <a:lnTo>
                  <a:pt x="1207" y="0"/>
                </a:lnTo>
                <a:lnTo>
                  <a:pt x="1116" y="0"/>
                </a:lnTo>
                <a:lnTo>
                  <a:pt x="1116" y="1841"/>
                </a:lnTo>
                <a:cubicBezTo>
                  <a:pt x="1116" y="2098"/>
                  <a:pt x="1008" y="2305"/>
                  <a:pt x="854" y="2366"/>
                </a:cubicBezTo>
                <a:cubicBezTo>
                  <a:pt x="362" y="2561"/>
                  <a:pt x="0" y="3268"/>
                  <a:pt x="0" y="4110"/>
                </a:cubicBezTo>
                <a:cubicBezTo>
                  <a:pt x="0" y="4280"/>
                  <a:pt x="16" y="4451"/>
                  <a:pt x="39" y="4598"/>
                </a:cubicBezTo>
                <a:cubicBezTo>
                  <a:pt x="88" y="4801"/>
                  <a:pt x="112" y="5110"/>
                  <a:pt x="295" y="5329"/>
                </a:cubicBezTo>
                <a:cubicBezTo>
                  <a:pt x="502" y="5695"/>
                  <a:pt x="800" y="5915"/>
                  <a:pt x="1139" y="5915"/>
                </a:cubicBezTo>
                <a:cubicBezTo>
                  <a:pt x="1470" y="5915"/>
                  <a:pt x="1770" y="5695"/>
                  <a:pt x="1980" y="5329"/>
                </a:cubicBezTo>
                <a:cubicBezTo>
                  <a:pt x="2079" y="5159"/>
                  <a:pt x="2237" y="5122"/>
                  <a:pt x="2372" y="5244"/>
                </a:cubicBezTo>
                <a:cubicBezTo>
                  <a:pt x="2391" y="5260"/>
                  <a:pt x="2411" y="5277"/>
                  <a:pt x="2431" y="5293"/>
                </a:cubicBezTo>
                <a:cubicBezTo>
                  <a:pt x="2540" y="5390"/>
                  <a:pt x="2600" y="5573"/>
                  <a:pt x="2593" y="5768"/>
                </a:cubicBezTo>
                <a:cubicBezTo>
                  <a:pt x="2586" y="5854"/>
                  <a:pt x="2586" y="5939"/>
                  <a:pt x="2586" y="6037"/>
                </a:cubicBezTo>
                <a:cubicBezTo>
                  <a:pt x="2615" y="6829"/>
                  <a:pt x="2977" y="7488"/>
                  <a:pt x="3455" y="7671"/>
                </a:cubicBezTo>
                <a:cubicBezTo>
                  <a:pt x="3540" y="7707"/>
                  <a:pt x="3601" y="7829"/>
                  <a:pt x="3601" y="7976"/>
                </a:cubicBezTo>
                <a:lnTo>
                  <a:pt x="3601" y="10000"/>
                </a:lnTo>
                <a:lnTo>
                  <a:pt x="3693" y="10000"/>
                </a:lnTo>
                <a:lnTo>
                  <a:pt x="3693" y="7829"/>
                </a:lnTo>
                <a:cubicBezTo>
                  <a:pt x="3693" y="7768"/>
                  <a:pt x="3725" y="7720"/>
                  <a:pt x="3763" y="7720"/>
                </a:cubicBezTo>
                <a:cubicBezTo>
                  <a:pt x="4369" y="7695"/>
                  <a:pt x="4862" y="6902"/>
                  <a:pt x="4862" y="5915"/>
                </a:cubicBezTo>
                <a:cubicBezTo>
                  <a:pt x="4862" y="5854"/>
                  <a:pt x="4862" y="5793"/>
                  <a:pt x="4855" y="5732"/>
                </a:cubicBezTo>
                <a:cubicBezTo>
                  <a:pt x="4847" y="5561"/>
                  <a:pt x="4901" y="5390"/>
                  <a:pt x="4994" y="5305"/>
                </a:cubicBezTo>
                <a:cubicBezTo>
                  <a:pt x="5015" y="5289"/>
                  <a:pt x="5034" y="5272"/>
                  <a:pt x="5055" y="5256"/>
                </a:cubicBezTo>
                <a:cubicBezTo>
                  <a:pt x="5165" y="5146"/>
                  <a:pt x="5309" y="5183"/>
                  <a:pt x="5395" y="5329"/>
                </a:cubicBezTo>
                <a:cubicBezTo>
                  <a:pt x="5602" y="5695"/>
                  <a:pt x="5901" y="5915"/>
                  <a:pt x="6233" y="5915"/>
                </a:cubicBezTo>
                <a:cubicBezTo>
                  <a:pt x="6580" y="5915"/>
                  <a:pt x="6880" y="5683"/>
                  <a:pt x="7086" y="5305"/>
                </a:cubicBezTo>
                <a:cubicBezTo>
                  <a:pt x="7178" y="5146"/>
                  <a:pt x="7332" y="5098"/>
                  <a:pt x="7448" y="5207"/>
                </a:cubicBezTo>
                <a:cubicBezTo>
                  <a:pt x="7456" y="5215"/>
                  <a:pt x="7463" y="5224"/>
                  <a:pt x="7471" y="5232"/>
                </a:cubicBezTo>
                <a:cubicBezTo>
                  <a:pt x="7570" y="5317"/>
                  <a:pt x="7633" y="5500"/>
                  <a:pt x="7618" y="5683"/>
                </a:cubicBezTo>
                <a:cubicBezTo>
                  <a:pt x="7604" y="5829"/>
                  <a:pt x="7604" y="5976"/>
                  <a:pt x="7618" y="6134"/>
                </a:cubicBezTo>
                <a:cubicBezTo>
                  <a:pt x="7679" y="6963"/>
                  <a:pt x="8095" y="7610"/>
                  <a:pt x="8609" y="7707"/>
                </a:cubicBezTo>
                <a:cubicBezTo>
                  <a:pt x="8640" y="7720"/>
                  <a:pt x="8663" y="7756"/>
                  <a:pt x="8663" y="7817"/>
                </a:cubicBezTo>
                <a:lnTo>
                  <a:pt x="8663" y="10000"/>
                </a:lnTo>
                <a:lnTo>
                  <a:pt x="8764" y="10000"/>
                </a:lnTo>
                <a:lnTo>
                  <a:pt x="8764" y="8000"/>
                </a:lnTo>
                <a:cubicBezTo>
                  <a:pt x="8764" y="7854"/>
                  <a:pt x="8833" y="7720"/>
                  <a:pt x="8926" y="7707"/>
                </a:cubicBezTo>
                <a:cubicBezTo>
                  <a:pt x="9479" y="7561"/>
                  <a:pt x="9902" y="6780"/>
                  <a:pt x="9887" y="5854"/>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7"/>
          <p:cNvSpPr>
            <a:spLocks noChangeArrowheads="1"/>
          </p:cNvSpPr>
          <p:nvPr/>
        </p:nvSpPr>
        <p:spPr bwMode="gray">
          <a:xfrm>
            <a:off x="2586832"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8"/>
          <p:cNvSpPr>
            <a:spLocks noChangeArrowheads="1"/>
          </p:cNvSpPr>
          <p:nvPr/>
        </p:nvSpPr>
        <p:spPr bwMode="gray">
          <a:xfrm>
            <a:off x="3757121" y="251725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9"/>
          <p:cNvSpPr>
            <a:spLocks noChangeArrowheads="1"/>
          </p:cNvSpPr>
          <p:nvPr/>
        </p:nvSpPr>
        <p:spPr bwMode="gray">
          <a:xfrm>
            <a:off x="4937906"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
          <p:cNvSpPr>
            <a:spLocks/>
          </p:cNvSpPr>
          <p:nvPr/>
        </p:nvSpPr>
        <p:spPr bwMode="gray">
          <a:xfrm>
            <a:off x="1727483" y="1689397"/>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1"/>
          <p:cNvSpPr>
            <a:spLocks/>
          </p:cNvSpPr>
          <p:nvPr/>
        </p:nvSpPr>
        <p:spPr bwMode="gray">
          <a:xfrm>
            <a:off x="4103485" y="1689397"/>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2"/>
          <p:cNvSpPr>
            <a:spLocks/>
          </p:cNvSpPr>
          <p:nvPr/>
        </p:nvSpPr>
        <p:spPr bwMode="gray">
          <a:xfrm>
            <a:off x="2893836" y="4626928"/>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gray">
          <a:xfrm>
            <a:off x="1372922" y="251789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9"/>
          <p:cNvSpPr/>
          <p:nvPr/>
        </p:nvSpPr>
        <p:spPr bwMode="gray">
          <a:xfrm>
            <a:off x="845782"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ponsorshi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Make sure you have a project sponsor who can establish and communicate clear objectives</a:t>
            </a:r>
            <a:r>
              <a:rPr lang="en-US" sz="1000" kern="0" dirty="0">
                <a:solidFill>
                  <a:srgbClr val="000000"/>
                </a:solidFill>
                <a:latin typeface="+mn-lt"/>
              </a:rPr>
              <a:t>.</a:t>
            </a:r>
            <a:endParaRPr lang="en-GB" sz="1000" kern="0" dirty="0">
              <a:solidFill>
                <a:srgbClr val="000000"/>
              </a:solidFill>
              <a:latin typeface="+mn-lt"/>
            </a:endParaRPr>
          </a:p>
        </p:txBody>
      </p:sp>
      <p:grpSp>
        <p:nvGrpSpPr>
          <p:cNvPr id="31" name="Group 30"/>
          <p:cNvGrpSpPr/>
          <p:nvPr/>
        </p:nvGrpSpPr>
        <p:grpSpPr bwMode="gray">
          <a:xfrm>
            <a:off x="1488842" y="2641217"/>
            <a:ext cx="614362" cy="539750"/>
            <a:chOff x="6478588" y="14084300"/>
            <a:chExt cx="614362" cy="539750"/>
          </a:xfrm>
          <a:solidFill>
            <a:schemeClr val="accent4"/>
          </a:solidFill>
        </p:grpSpPr>
        <p:sp>
          <p:nvSpPr>
            <p:cNvPr id="32" name="Freeform 490"/>
            <p:cNvSpPr>
              <a:spLocks noEditPoints="1"/>
            </p:cNvSpPr>
            <p:nvPr/>
          </p:nvSpPr>
          <p:spPr bwMode="gray">
            <a:xfrm>
              <a:off x="6705600" y="14293850"/>
              <a:ext cx="160337" cy="330200"/>
            </a:xfrm>
            <a:custGeom>
              <a:avLst/>
              <a:gdLst>
                <a:gd name="T0" fmla="*/ 40 w 64"/>
                <a:gd name="T1" fmla="*/ 55 h 132"/>
                <a:gd name="T2" fmla="*/ 52 w 64"/>
                <a:gd name="T3" fmla="*/ 48 h 132"/>
                <a:gd name="T4" fmla="*/ 52 w 64"/>
                <a:gd name="T5" fmla="*/ 48 h 132"/>
                <a:gd name="T6" fmla="*/ 52 w 64"/>
                <a:gd name="T7" fmla="*/ 48 h 132"/>
                <a:gd name="T8" fmla="*/ 60 w 64"/>
                <a:gd name="T9" fmla="*/ 28 h 132"/>
                <a:gd name="T10" fmla="*/ 52 w 64"/>
                <a:gd name="T11" fmla="*/ 8 h 132"/>
                <a:gd name="T12" fmla="*/ 32 w 64"/>
                <a:gd name="T13" fmla="*/ 0 h 132"/>
                <a:gd name="T14" fmla="*/ 12 w 64"/>
                <a:gd name="T15" fmla="*/ 8 h 132"/>
                <a:gd name="T16" fmla="*/ 4 w 64"/>
                <a:gd name="T17" fmla="*/ 28 h 132"/>
                <a:gd name="T18" fmla="*/ 12 w 64"/>
                <a:gd name="T19" fmla="*/ 48 h 132"/>
                <a:gd name="T20" fmla="*/ 24 w 64"/>
                <a:gd name="T21" fmla="*/ 55 h 132"/>
                <a:gd name="T22" fmla="*/ 24 w 64"/>
                <a:gd name="T23" fmla="*/ 116 h 132"/>
                <a:gd name="T24" fmla="*/ 0 w 64"/>
                <a:gd name="T25" fmla="*/ 116 h 132"/>
                <a:gd name="T26" fmla="*/ 0 w 64"/>
                <a:gd name="T27" fmla="*/ 132 h 132"/>
                <a:gd name="T28" fmla="*/ 64 w 64"/>
                <a:gd name="T29" fmla="*/ 132 h 132"/>
                <a:gd name="T30" fmla="*/ 64 w 64"/>
                <a:gd name="T31" fmla="*/ 116 h 132"/>
                <a:gd name="T32" fmla="*/ 40 w 64"/>
                <a:gd name="T33" fmla="*/ 116 h 132"/>
                <a:gd name="T34" fmla="*/ 40 w 64"/>
                <a:gd name="T35" fmla="*/ 55 h 132"/>
                <a:gd name="T36" fmla="*/ 20 w 64"/>
                <a:gd name="T37" fmla="*/ 28 h 132"/>
                <a:gd name="T38" fmla="*/ 24 w 64"/>
                <a:gd name="T39" fmla="*/ 20 h 132"/>
                <a:gd name="T40" fmla="*/ 32 w 64"/>
                <a:gd name="T41" fmla="*/ 16 h 132"/>
                <a:gd name="T42" fmla="*/ 40 w 64"/>
                <a:gd name="T43" fmla="*/ 20 h 132"/>
                <a:gd name="T44" fmla="*/ 44 w 64"/>
                <a:gd name="T45" fmla="*/ 28 h 132"/>
                <a:gd name="T46" fmla="*/ 40 w 64"/>
                <a:gd name="T47" fmla="*/ 36 h 132"/>
                <a:gd name="T48" fmla="*/ 40 w 64"/>
                <a:gd name="T49" fmla="*/ 36 h 132"/>
                <a:gd name="T50" fmla="*/ 24 w 64"/>
                <a:gd name="T51" fmla="*/ 36 h 132"/>
                <a:gd name="T52" fmla="*/ 20 w 64"/>
                <a:gd name="T53"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2">
                  <a:moveTo>
                    <a:pt x="40" y="55"/>
                  </a:moveTo>
                  <a:cubicBezTo>
                    <a:pt x="44" y="54"/>
                    <a:pt x="48" y="51"/>
                    <a:pt x="52" y="48"/>
                  </a:cubicBezTo>
                  <a:cubicBezTo>
                    <a:pt x="52" y="48"/>
                    <a:pt x="52" y="48"/>
                    <a:pt x="52" y="48"/>
                  </a:cubicBezTo>
                  <a:cubicBezTo>
                    <a:pt x="52" y="48"/>
                    <a:pt x="52" y="48"/>
                    <a:pt x="52" y="48"/>
                  </a:cubicBezTo>
                  <a:cubicBezTo>
                    <a:pt x="57" y="43"/>
                    <a:pt x="60" y="35"/>
                    <a:pt x="60" y="28"/>
                  </a:cubicBezTo>
                  <a:cubicBezTo>
                    <a:pt x="60" y="21"/>
                    <a:pt x="57" y="13"/>
                    <a:pt x="52" y="8"/>
                  </a:cubicBezTo>
                  <a:cubicBezTo>
                    <a:pt x="47" y="3"/>
                    <a:pt x="39" y="0"/>
                    <a:pt x="32" y="0"/>
                  </a:cubicBezTo>
                  <a:cubicBezTo>
                    <a:pt x="25" y="0"/>
                    <a:pt x="17" y="3"/>
                    <a:pt x="12" y="8"/>
                  </a:cubicBezTo>
                  <a:cubicBezTo>
                    <a:pt x="7" y="13"/>
                    <a:pt x="4" y="21"/>
                    <a:pt x="4" y="28"/>
                  </a:cubicBezTo>
                  <a:cubicBezTo>
                    <a:pt x="4" y="35"/>
                    <a:pt x="7" y="43"/>
                    <a:pt x="12" y="48"/>
                  </a:cubicBezTo>
                  <a:cubicBezTo>
                    <a:pt x="16" y="51"/>
                    <a:pt x="20" y="54"/>
                    <a:pt x="24" y="55"/>
                  </a:cubicBezTo>
                  <a:cubicBezTo>
                    <a:pt x="24" y="116"/>
                    <a:pt x="24" y="116"/>
                    <a:pt x="24" y="116"/>
                  </a:cubicBezTo>
                  <a:cubicBezTo>
                    <a:pt x="0" y="116"/>
                    <a:pt x="0" y="116"/>
                    <a:pt x="0" y="116"/>
                  </a:cubicBezTo>
                  <a:cubicBezTo>
                    <a:pt x="0" y="132"/>
                    <a:pt x="0" y="132"/>
                    <a:pt x="0" y="132"/>
                  </a:cubicBezTo>
                  <a:cubicBezTo>
                    <a:pt x="64" y="132"/>
                    <a:pt x="64" y="132"/>
                    <a:pt x="64" y="132"/>
                  </a:cubicBezTo>
                  <a:cubicBezTo>
                    <a:pt x="64" y="116"/>
                    <a:pt x="64" y="116"/>
                    <a:pt x="64" y="116"/>
                  </a:cubicBezTo>
                  <a:cubicBezTo>
                    <a:pt x="40" y="116"/>
                    <a:pt x="40" y="116"/>
                    <a:pt x="40" y="116"/>
                  </a:cubicBezTo>
                  <a:lnTo>
                    <a:pt x="40" y="55"/>
                  </a:lnTo>
                  <a:close/>
                  <a:moveTo>
                    <a:pt x="20" y="28"/>
                  </a:moveTo>
                  <a:cubicBezTo>
                    <a:pt x="20" y="25"/>
                    <a:pt x="21" y="22"/>
                    <a:pt x="24" y="20"/>
                  </a:cubicBezTo>
                  <a:cubicBezTo>
                    <a:pt x="26" y="17"/>
                    <a:pt x="29" y="16"/>
                    <a:pt x="32" y="16"/>
                  </a:cubicBezTo>
                  <a:cubicBezTo>
                    <a:pt x="35" y="16"/>
                    <a:pt x="38" y="17"/>
                    <a:pt x="40" y="20"/>
                  </a:cubicBezTo>
                  <a:cubicBezTo>
                    <a:pt x="43" y="22"/>
                    <a:pt x="44" y="25"/>
                    <a:pt x="44" y="28"/>
                  </a:cubicBezTo>
                  <a:cubicBezTo>
                    <a:pt x="44" y="31"/>
                    <a:pt x="43" y="34"/>
                    <a:pt x="40" y="36"/>
                  </a:cubicBezTo>
                  <a:cubicBezTo>
                    <a:pt x="40" y="36"/>
                    <a:pt x="40" y="36"/>
                    <a:pt x="40" y="36"/>
                  </a:cubicBezTo>
                  <a:cubicBezTo>
                    <a:pt x="36" y="41"/>
                    <a:pt x="28" y="41"/>
                    <a:pt x="24" y="36"/>
                  </a:cubicBezTo>
                  <a:cubicBezTo>
                    <a:pt x="21" y="34"/>
                    <a:pt x="20" y="31"/>
                    <a:pt x="2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91"/>
            <p:cNvSpPr>
              <a:spLocks/>
            </p:cNvSpPr>
            <p:nvPr/>
          </p:nvSpPr>
          <p:spPr bwMode="gray">
            <a:xfrm>
              <a:off x="6610350" y="14189075"/>
              <a:ext cx="350837" cy="296863"/>
            </a:xfrm>
            <a:custGeom>
              <a:avLst/>
              <a:gdLst>
                <a:gd name="T0" fmla="*/ 119 w 140"/>
                <a:gd name="T1" fmla="*/ 21 h 119"/>
                <a:gd name="T2" fmla="*/ 70 w 140"/>
                <a:gd name="T3" fmla="*/ 0 h 119"/>
                <a:gd name="T4" fmla="*/ 21 w 140"/>
                <a:gd name="T5" fmla="*/ 21 h 119"/>
                <a:gd name="T6" fmla="*/ 0 w 140"/>
                <a:gd name="T7" fmla="*/ 70 h 119"/>
                <a:gd name="T8" fmla="*/ 21 w 140"/>
                <a:gd name="T9" fmla="*/ 119 h 119"/>
                <a:gd name="T10" fmla="*/ 32 w 140"/>
                <a:gd name="T11" fmla="*/ 108 h 119"/>
                <a:gd name="T12" fmla="*/ 16 w 140"/>
                <a:gd name="T13" fmla="*/ 70 h 119"/>
                <a:gd name="T14" fmla="*/ 32 w 140"/>
                <a:gd name="T15" fmla="*/ 32 h 119"/>
                <a:gd name="T16" fmla="*/ 70 w 140"/>
                <a:gd name="T17" fmla="*/ 16 h 119"/>
                <a:gd name="T18" fmla="*/ 108 w 140"/>
                <a:gd name="T19" fmla="*/ 32 h 119"/>
                <a:gd name="T20" fmla="*/ 124 w 140"/>
                <a:gd name="T21" fmla="*/ 70 h 119"/>
                <a:gd name="T22" fmla="*/ 108 w 140"/>
                <a:gd name="T23" fmla="*/ 108 h 119"/>
                <a:gd name="T24" fmla="*/ 119 w 140"/>
                <a:gd name="T25" fmla="*/ 119 h 119"/>
                <a:gd name="T26" fmla="*/ 140 w 140"/>
                <a:gd name="T27" fmla="*/ 70 h 119"/>
                <a:gd name="T28" fmla="*/ 119 w 140"/>
                <a:gd name="T29" fmla="*/ 2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19">
                  <a:moveTo>
                    <a:pt x="119" y="21"/>
                  </a:moveTo>
                  <a:cubicBezTo>
                    <a:pt x="106" y="7"/>
                    <a:pt x="89" y="0"/>
                    <a:pt x="70" y="0"/>
                  </a:cubicBezTo>
                  <a:cubicBezTo>
                    <a:pt x="51" y="0"/>
                    <a:pt x="34" y="7"/>
                    <a:pt x="21" y="21"/>
                  </a:cubicBezTo>
                  <a:cubicBezTo>
                    <a:pt x="7" y="34"/>
                    <a:pt x="0" y="51"/>
                    <a:pt x="0" y="70"/>
                  </a:cubicBezTo>
                  <a:cubicBezTo>
                    <a:pt x="0" y="89"/>
                    <a:pt x="7" y="106"/>
                    <a:pt x="21" y="119"/>
                  </a:cubicBezTo>
                  <a:cubicBezTo>
                    <a:pt x="32" y="108"/>
                    <a:pt x="32" y="108"/>
                    <a:pt x="32" y="108"/>
                  </a:cubicBezTo>
                  <a:cubicBezTo>
                    <a:pt x="22" y="98"/>
                    <a:pt x="16" y="84"/>
                    <a:pt x="16" y="70"/>
                  </a:cubicBezTo>
                  <a:cubicBezTo>
                    <a:pt x="16" y="56"/>
                    <a:pt x="22" y="42"/>
                    <a:pt x="32" y="32"/>
                  </a:cubicBezTo>
                  <a:cubicBezTo>
                    <a:pt x="42" y="22"/>
                    <a:pt x="56" y="16"/>
                    <a:pt x="70" y="16"/>
                  </a:cubicBezTo>
                  <a:cubicBezTo>
                    <a:pt x="84" y="16"/>
                    <a:pt x="98" y="22"/>
                    <a:pt x="108" y="32"/>
                  </a:cubicBezTo>
                  <a:cubicBezTo>
                    <a:pt x="118" y="42"/>
                    <a:pt x="124" y="56"/>
                    <a:pt x="124" y="70"/>
                  </a:cubicBezTo>
                  <a:cubicBezTo>
                    <a:pt x="124" y="84"/>
                    <a:pt x="118" y="98"/>
                    <a:pt x="108" y="108"/>
                  </a:cubicBezTo>
                  <a:cubicBezTo>
                    <a:pt x="119" y="119"/>
                    <a:pt x="119" y="119"/>
                    <a:pt x="119" y="119"/>
                  </a:cubicBezTo>
                  <a:cubicBezTo>
                    <a:pt x="133" y="106"/>
                    <a:pt x="140" y="89"/>
                    <a:pt x="140" y="70"/>
                  </a:cubicBezTo>
                  <a:cubicBezTo>
                    <a:pt x="140" y="51"/>
                    <a:pt x="133" y="34"/>
                    <a:pt x="1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2"/>
            <p:cNvSpPr>
              <a:spLocks/>
            </p:cNvSpPr>
            <p:nvPr/>
          </p:nvSpPr>
          <p:spPr bwMode="gray">
            <a:xfrm>
              <a:off x="6478588" y="14084300"/>
              <a:ext cx="614362" cy="477838"/>
            </a:xfrm>
            <a:custGeom>
              <a:avLst/>
              <a:gdLst>
                <a:gd name="T0" fmla="*/ 202 w 246"/>
                <a:gd name="T1" fmla="*/ 33 h 191"/>
                <a:gd name="T2" fmla="*/ 123 w 246"/>
                <a:gd name="T3" fmla="*/ 0 h 191"/>
                <a:gd name="T4" fmla="*/ 44 w 246"/>
                <a:gd name="T5" fmla="*/ 33 h 191"/>
                <a:gd name="T6" fmla="*/ 44 w 246"/>
                <a:gd name="T7" fmla="*/ 191 h 191"/>
                <a:gd name="T8" fmla="*/ 55 w 246"/>
                <a:gd name="T9" fmla="*/ 180 h 191"/>
                <a:gd name="T10" fmla="*/ 55 w 246"/>
                <a:gd name="T11" fmla="*/ 44 h 191"/>
                <a:gd name="T12" fmla="*/ 123 w 246"/>
                <a:gd name="T13" fmla="*/ 16 h 191"/>
                <a:gd name="T14" fmla="*/ 191 w 246"/>
                <a:gd name="T15" fmla="*/ 44 h 191"/>
                <a:gd name="T16" fmla="*/ 191 w 246"/>
                <a:gd name="T17" fmla="*/ 180 h 191"/>
                <a:gd name="T18" fmla="*/ 202 w 246"/>
                <a:gd name="T19" fmla="*/ 191 h 191"/>
                <a:gd name="T20" fmla="*/ 202 w 246"/>
                <a:gd name="T21" fmla="*/ 3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191">
                  <a:moveTo>
                    <a:pt x="202" y="33"/>
                  </a:moveTo>
                  <a:cubicBezTo>
                    <a:pt x="181" y="12"/>
                    <a:pt x="153" y="0"/>
                    <a:pt x="123" y="0"/>
                  </a:cubicBezTo>
                  <a:cubicBezTo>
                    <a:pt x="93" y="0"/>
                    <a:pt x="65" y="12"/>
                    <a:pt x="44" y="33"/>
                  </a:cubicBezTo>
                  <a:cubicBezTo>
                    <a:pt x="0" y="76"/>
                    <a:pt x="0" y="148"/>
                    <a:pt x="44" y="191"/>
                  </a:cubicBezTo>
                  <a:cubicBezTo>
                    <a:pt x="55" y="180"/>
                    <a:pt x="55" y="180"/>
                    <a:pt x="55" y="180"/>
                  </a:cubicBezTo>
                  <a:cubicBezTo>
                    <a:pt x="18" y="142"/>
                    <a:pt x="18" y="82"/>
                    <a:pt x="55" y="44"/>
                  </a:cubicBezTo>
                  <a:cubicBezTo>
                    <a:pt x="73" y="26"/>
                    <a:pt x="97" y="16"/>
                    <a:pt x="123" y="16"/>
                  </a:cubicBezTo>
                  <a:cubicBezTo>
                    <a:pt x="149" y="16"/>
                    <a:pt x="173" y="26"/>
                    <a:pt x="191" y="44"/>
                  </a:cubicBezTo>
                  <a:cubicBezTo>
                    <a:pt x="228" y="82"/>
                    <a:pt x="228" y="142"/>
                    <a:pt x="191" y="180"/>
                  </a:cubicBezTo>
                  <a:cubicBezTo>
                    <a:pt x="202" y="191"/>
                    <a:pt x="202" y="191"/>
                    <a:pt x="202" y="191"/>
                  </a:cubicBezTo>
                  <a:cubicBezTo>
                    <a:pt x="246" y="148"/>
                    <a:pt x="246" y="76"/>
                    <a:pt x="202"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7" name="Graphic 36">
            <a:extLst>
              <a:ext uri="{FF2B5EF4-FFF2-40B4-BE49-F238E27FC236}">
                <a16:creationId xmlns:a16="http://schemas.microsoft.com/office/drawing/2014/main" id="{B32141F1-6CDD-4D08-AEAD-465C7BC4C6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54300" y="3182620"/>
            <a:ext cx="685800" cy="533400"/>
          </a:xfrm>
          <a:prstGeom prst="rect">
            <a:avLst/>
          </a:prstGeom>
        </p:spPr>
      </p:pic>
      <p:pic>
        <p:nvPicPr>
          <p:cNvPr id="39" name="Graphic 38">
            <a:extLst>
              <a:ext uri="{FF2B5EF4-FFF2-40B4-BE49-F238E27FC236}">
                <a16:creationId xmlns:a16="http://schemas.microsoft.com/office/drawing/2014/main" id="{235B92D5-9DFC-42AA-A3E7-02109372EE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12540" y="2705100"/>
            <a:ext cx="685800" cy="533400"/>
          </a:xfrm>
          <a:prstGeom prst="rect">
            <a:avLst/>
          </a:prstGeom>
        </p:spPr>
      </p:pic>
      <p:pic>
        <p:nvPicPr>
          <p:cNvPr id="41" name="Graphic 40">
            <a:extLst>
              <a:ext uri="{FF2B5EF4-FFF2-40B4-BE49-F238E27FC236}">
                <a16:creationId xmlns:a16="http://schemas.microsoft.com/office/drawing/2014/main" id="{6D7D3427-DBEA-4352-AAA6-7E1E3F0EB6C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31740" y="3253740"/>
            <a:ext cx="685800" cy="533400"/>
          </a:xfrm>
          <a:prstGeom prst="rect">
            <a:avLst/>
          </a:prstGeom>
        </p:spPr>
      </p:pic>
      <p:pic>
        <p:nvPicPr>
          <p:cNvPr id="43" name="Graphic 42">
            <a:extLst>
              <a:ext uri="{FF2B5EF4-FFF2-40B4-BE49-F238E27FC236}">
                <a16:creationId xmlns:a16="http://schemas.microsoft.com/office/drawing/2014/main" id="{7C97396D-942C-4685-A7CF-28ECB7A19B9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00140" y="2684780"/>
            <a:ext cx="685800" cy="533400"/>
          </a:xfrm>
          <a:prstGeom prst="rect">
            <a:avLst/>
          </a:prstGeom>
        </p:spPr>
      </p:pic>
      <p:pic>
        <p:nvPicPr>
          <p:cNvPr id="49" name="Graphic 48">
            <a:extLst>
              <a:ext uri="{FF2B5EF4-FFF2-40B4-BE49-F238E27FC236}">
                <a16:creationId xmlns:a16="http://schemas.microsoft.com/office/drawing/2014/main" id="{D887E1AA-5656-499B-8F3E-60F39A4BC62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99020" y="3192780"/>
            <a:ext cx="685800" cy="533400"/>
          </a:xfrm>
          <a:prstGeom prst="rect">
            <a:avLst/>
          </a:prstGeom>
        </p:spPr>
      </p:pic>
      <p:pic>
        <p:nvPicPr>
          <p:cNvPr id="51" name="Graphic 50">
            <a:extLst>
              <a:ext uri="{FF2B5EF4-FFF2-40B4-BE49-F238E27FC236}">
                <a16:creationId xmlns:a16="http://schemas.microsoft.com/office/drawing/2014/main" id="{05670E70-5D3A-4781-A19E-244B1B8AF61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57260" y="2715260"/>
            <a:ext cx="685800" cy="533400"/>
          </a:xfrm>
          <a:prstGeom prst="rect">
            <a:avLst/>
          </a:prstGeom>
        </p:spPr>
      </p:pic>
      <p:pic>
        <p:nvPicPr>
          <p:cNvPr id="53" name="Graphic 52">
            <a:extLst>
              <a:ext uri="{FF2B5EF4-FFF2-40B4-BE49-F238E27FC236}">
                <a16:creationId xmlns:a16="http://schemas.microsoft.com/office/drawing/2014/main" id="{1220A904-38E7-42B2-A308-918AD407A9E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806940" y="3213100"/>
            <a:ext cx="685800" cy="533400"/>
          </a:xfrm>
          <a:prstGeom prst="rect">
            <a:avLst/>
          </a:prstGeom>
        </p:spPr>
      </p:pic>
      <p:sp>
        <p:nvSpPr>
          <p:cNvPr id="63" name="Rectangle 62">
            <a:extLst>
              <a:ext uri="{FF2B5EF4-FFF2-40B4-BE49-F238E27FC236}">
                <a16:creationId xmlns:a16="http://schemas.microsoft.com/office/drawing/2014/main" id="{C8654389-11AD-4250-AFE6-36423D6186EB}"/>
              </a:ext>
            </a:extLst>
          </p:cNvPr>
          <p:cNvSpPr/>
          <p:nvPr/>
        </p:nvSpPr>
        <p:spPr>
          <a:xfrm>
            <a:off x="853440" y="629920"/>
            <a:ext cx="10261600" cy="5486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D4BD5AEE-E78E-432B-9223-C6D1407FE620}"/>
              </a:ext>
            </a:extLst>
          </p:cNvPr>
          <p:cNvSpPr txBox="1"/>
          <p:nvPr/>
        </p:nvSpPr>
        <p:spPr>
          <a:xfrm>
            <a:off x="822960" y="5838057"/>
            <a:ext cx="176784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45" name="TextBox 44">
            <a:extLst>
              <a:ext uri="{FF2B5EF4-FFF2-40B4-BE49-F238E27FC236}">
                <a16:creationId xmlns:a16="http://schemas.microsoft.com/office/drawing/2014/main" id="{A4833336-1865-4168-8029-4A8B03F883E2}"/>
              </a:ext>
            </a:extLst>
          </p:cNvPr>
          <p:cNvSpPr txBox="1"/>
          <p:nvPr/>
        </p:nvSpPr>
        <p:spPr>
          <a:xfrm>
            <a:off x="185057" y="113937"/>
            <a:ext cx="11582400" cy="461665"/>
          </a:xfrm>
          <a:prstGeom prst="rect">
            <a:avLst/>
          </a:prstGeom>
          <a:noFill/>
        </p:spPr>
        <p:txBody>
          <a:bodyPr wrap="square" lIns="0" rIns="0" rtlCol="0">
            <a:spAutoFit/>
          </a:bodyPr>
          <a:lstStyle/>
          <a:p>
            <a:pPr algn="l">
              <a:spcBef>
                <a:spcPts val="600"/>
              </a:spcBef>
            </a:pPr>
            <a:r>
              <a:rPr lang="en-US" sz="2400" dirty="0">
                <a:latin typeface="+mj-lt"/>
              </a:rPr>
              <a:t>How difficult will it be?</a:t>
            </a:r>
          </a:p>
        </p:txBody>
      </p:sp>
    </p:spTree>
    <p:extLst>
      <p:ext uri="{BB962C8B-B14F-4D97-AF65-F5344CB8AC3E}">
        <p14:creationId xmlns:p14="http://schemas.microsoft.com/office/powerpoint/2010/main" val="3434953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81DE73-AB87-064A-46DA-E072504313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8581DE73-AB87-064A-46DA-E07250431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br>
              <a:rPr lang="en-US" sz="4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E211A64-5C29-BB82-A3DC-DE128DB325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E62B9-34A8-61A7-091C-76E8196856E6}"/>
              </a:ext>
            </a:extLst>
          </p:cNvPr>
          <p:cNvSpPr>
            <a:spLocks noGrp="1"/>
          </p:cNvSpPr>
          <p:nvPr>
            <p:ph type="title"/>
          </p:nvPr>
        </p:nvSpPr>
        <p:spPr/>
        <p:txBody>
          <a:bodyPr vert="horz"/>
          <a:lstStyle/>
          <a:p>
            <a:r>
              <a:rPr lang="en-US" dirty="0"/>
              <a:t>IT Budget Tool Location</a:t>
            </a:r>
            <a:endParaRPr lang="en-IN" dirty="0"/>
          </a:p>
        </p:txBody>
      </p:sp>
      <p:grpSp>
        <p:nvGrpSpPr>
          <p:cNvPr id="7" name="Group 6">
            <a:extLst>
              <a:ext uri="{FF2B5EF4-FFF2-40B4-BE49-F238E27FC236}">
                <a16:creationId xmlns:a16="http://schemas.microsoft.com/office/drawing/2014/main"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 name="Freeform: Shape 4">
              <a:extLst>
                <a:ext uri="{FF2B5EF4-FFF2-40B4-BE49-F238E27FC236}">
                  <a16:creationId xmlns:a16="http://schemas.microsoft.com/office/drawing/2014/main"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Freeform: Shape 7">
            <a:extLst>
              <a:ext uri="{FF2B5EF4-FFF2-40B4-BE49-F238E27FC236}">
                <a16:creationId xmlns:a16="http://schemas.microsoft.com/office/drawing/2014/main"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Shape 8">
            <a:extLst>
              <a:ext uri="{FF2B5EF4-FFF2-40B4-BE49-F238E27FC236}">
                <a16:creationId xmlns:a16="http://schemas.microsoft.com/office/drawing/2014/main"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Isosceles Triangle 19">
              <a:extLst>
                <a:ext uri="{FF2B5EF4-FFF2-40B4-BE49-F238E27FC236}">
                  <a16:creationId xmlns:a16="http://schemas.microsoft.com/office/drawing/2014/main"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Isosceles Triangle 20">
              <a:extLst>
                <a:ext uri="{FF2B5EF4-FFF2-40B4-BE49-F238E27FC236}">
                  <a16:creationId xmlns:a16="http://schemas.microsoft.com/office/drawing/2014/main"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058F973C-45B5-1371-44C3-8089D1C6A285}"/>
              </a:ext>
            </a:extLst>
          </p:cNvPr>
          <p:cNvSpPr txBox="1"/>
          <p:nvPr/>
        </p:nvSpPr>
        <p:spPr>
          <a:xfrm>
            <a:off x="610640" y="5636994"/>
            <a:ext cx="3335833"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Isosceles Triangle 24">
              <a:extLst>
                <a:ext uri="{FF2B5EF4-FFF2-40B4-BE49-F238E27FC236}">
                  <a16:creationId xmlns:a16="http://schemas.microsoft.com/office/drawing/2014/main"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Isosceles Triangle 25">
              <a:extLst>
                <a:ext uri="{FF2B5EF4-FFF2-40B4-BE49-F238E27FC236}">
                  <a16:creationId xmlns:a16="http://schemas.microsoft.com/office/drawing/2014/main"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7" name="TextBox 26">
            <a:extLst>
              <a:ext uri="{FF2B5EF4-FFF2-40B4-BE49-F238E27FC236}">
                <a16:creationId xmlns:a16="http://schemas.microsoft.com/office/drawing/2014/main" id="{52FD3C06-6470-FDD6-DF13-1194300BD96F}"/>
              </a:ext>
            </a:extLst>
          </p:cNvPr>
          <p:cNvSpPr txBox="1"/>
          <p:nvPr/>
        </p:nvSpPr>
        <p:spPr>
          <a:xfrm>
            <a:off x="4708589" y="5641508"/>
            <a:ext cx="3102495"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Isosceles Triangle 29">
              <a:extLst>
                <a:ext uri="{FF2B5EF4-FFF2-40B4-BE49-F238E27FC236}">
                  <a16:creationId xmlns:a16="http://schemas.microsoft.com/office/drawing/2014/main"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Isosceles Triangle 30">
              <a:extLst>
                <a:ext uri="{FF2B5EF4-FFF2-40B4-BE49-F238E27FC236}">
                  <a16:creationId xmlns:a16="http://schemas.microsoft.com/office/drawing/2014/main"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32" name="TextBox 31">
            <a:extLst>
              <a:ext uri="{FF2B5EF4-FFF2-40B4-BE49-F238E27FC236}">
                <a16:creationId xmlns:a16="http://schemas.microsoft.com/office/drawing/2014/main" id="{FBC0EA5C-2C2B-350D-A66B-D094EE37DA4C}"/>
              </a:ext>
            </a:extLst>
          </p:cNvPr>
          <p:cNvSpPr txBox="1"/>
          <p:nvPr/>
        </p:nvSpPr>
        <p:spPr>
          <a:xfrm>
            <a:off x="8524436" y="5636994"/>
            <a:ext cx="3102493"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Navigate Down To “IT Budget”</a:t>
            </a:r>
          </a:p>
        </p:txBody>
      </p:sp>
      <p:sp>
        <p:nvSpPr>
          <p:cNvPr id="33" name="TextBox 32">
            <a:extLst>
              <a:ext uri="{FF2B5EF4-FFF2-40B4-BE49-F238E27FC236}">
                <a16:creationId xmlns:a16="http://schemas.microsoft.com/office/drawing/2014/main"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1</a:t>
            </a:r>
          </a:p>
        </p:txBody>
      </p:sp>
      <p:sp>
        <p:nvSpPr>
          <p:cNvPr id="34" name="TextBox 33">
            <a:extLst>
              <a:ext uri="{FF2B5EF4-FFF2-40B4-BE49-F238E27FC236}">
                <a16:creationId xmlns:a16="http://schemas.microsoft.com/office/drawing/2014/main"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2</a:t>
            </a:r>
          </a:p>
        </p:txBody>
      </p:sp>
      <p:sp>
        <p:nvSpPr>
          <p:cNvPr id="35" name="TextBox 34">
            <a:extLst>
              <a:ext uri="{FF2B5EF4-FFF2-40B4-BE49-F238E27FC236}">
                <a16:creationId xmlns:a16="http://schemas.microsoft.com/office/drawing/2014/main"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3</a:t>
            </a:r>
          </a:p>
        </p:txBody>
      </p:sp>
      <p:sp>
        <p:nvSpPr>
          <p:cNvPr id="3" name="Rectangle 2">
            <a:extLst>
              <a:ext uri="{FF2B5EF4-FFF2-40B4-BE49-F238E27FC236}">
                <a16:creationId xmlns:a16="http://schemas.microsoft.com/office/drawing/2014/main" id="{DDC9C480-1720-E118-FDFF-367180FA413A}"/>
              </a:ext>
            </a:extLst>
          </p:cNvPr>
          <p:cNvSpPr/>
          <p:nvPr/>
        </p:nvSpPr>
        <p:spPr>
          <a:xfrm>
            <a:off x="5956300" y="380973"/>
            <a:ext cx="3486780" cy="6971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rPr>
              <a:t>Vanity-link- www.gartner.com/itbudget</a:t>
            </a:r>
          </a:p>
        </p:txBody>
      </p:sp>
      <p:pic>
        <p:nvPicPr>
          <p:cNvPr id="38" name="Picture 37">
            <a:extLst>
              <a:ext uri="{FF2B5EF4-FFF2-40B4-BE49-F238E27FC236}">
                <a16:creationId xmlns:a16="http://schemas.microsoft.com/office/drawing/2014/main" id="{168F0021-7BEC-980F-1546-8CA48A312B62}"/>
              </a:ext>
            </a:extLst>
          </p:cNvPr>
          <p:cNvPicPr>
            <a:picLocks noChangeAspect="1"/>
          </p:cNvPicPr>
          <p:nvPr/>
        </p:nvPicPr>
        <p:blipFill>
          <a:blip r:embed="rId7"/>
          <a:stretch>
            <a:fillRect/>
          </a:stretch>
        </p:blipFill>
        <p:spPr>
          <a:xfrm>
            <a:off x="4708589" y="1745868"/>
            <a:ext cx="2704265" cy="3193146"/>
          </a:xfrm>
          <a:prstGeom prst="rect">
            <a:avLst/>
          </a:prstGeom>
        </p:spPr>
      </p:pic>
      <p:sp>
        <p:nvSpPr>
          <p:cNvPr id="39" name="Rectangle 38">
            <a:extLst>
              <a:ext uri="{FF2B5EF4-FFF2-40B4-BE49-F238E27FC236}">
                <a16:creationId xmlns:a16="http://schemas.microsoft.com/office/drawing/2014/main" id="{86C6DE9F-34C9-2AF6-398D-B44D36BA932A}"/>
              </a:ext>
            </a:extLst>
          </p:cNvPr>
          <p:cNvSpPr/>
          <p:nvPr/>
        </p:nvSpPr>
        <p:spPr>
          <a:xfrm>
            <a:off x="4708589" y="2870954"/>
            <a:ext cx="2633244" cy="4001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1" name="Picture 40">
            <a:extLst>
              <a:ext uri="{FF2B5EF4-FFF2-40B4-BE49-F238E27FC236}">
                <a16:creationId xmlns:a16="http://schemas.microsoft.com/office/drawing/2014/main" id="{7DE73587-C1C4-593D-DD92-875CD5EB8FEE}"/>
              </a:ext>
            </a:extLst>
          </p:cNvPr>
          <p:cNvPicPr>
            <a:picLocks noChangeAspect="1"/>
          </p:cNvPicPr>
          <p:nvPr/>
        </p:nvPicPr>
        <p:blipFill>
          <a:blip r:embed="rId8"/>
          <a:stretch>
            <a:fillRect/>
          </a:stretch>
        </p:blipFill>
        <p:spPr>
          <a:xfrm>
            <a:off x="8701503" y="1691416"/>
            <a:ext cx="2599771" cy="3246120"/>
          </a:xfrm>
          <a:prstGeom prst="rect">
            <a:avLst/>
          </a:prstGeom>
        </p:spPr>
      </p:pic>
      <p:sp>
        <p:nvSpPr>
          <p:cNvPr id="42" name="Rectangle 41">
            <a:extLst>
              <a:ext uri="{FF2B5EF4-FFF2-40B4-BE49-F238E27FC236}">
                <a16:creationId xmlns:a16="http://schemas.microsoft.com/office/drawing/2014/main" id="{562375FB-2039-F122-DCA5-08B4CA3242F0}"/>
              </a:ext>
            </a:extLst>
          </p:cNvPr>
          <p:cNvSpPr/>
          <p:nvPr/>
        </p:nvSpPr>
        <p:spPr>
          <a:xfrm>
            <a:off x="8719259" y="2595702"/>
            <a:ext cx="2573826" cy="366739"/>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3E913AB8-6543-43E4-F6B5-AEC964784360}"/>
              </a:ext>
            </a:extLst>
          </p:cNvPr>
          <p:cNvSpPr/>
          <p:nvPr/>
        </p:nvSpPr>
        <p:spPr>
          <a:xfrm>
            <a:off x="2440713" y="5998718"/>
            <a:ext cx="7310575" cy="4066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accent5"/>
                </a:solidFill>
              </a:rPr>
              <a:t>*IT Security Tool is a part of the IT budget tool</a:t>
            </a:r>
          </a:p>
        </p:txBody>
      </p:sp>
    </p:spTree>
    <p:extLst>
      <p:ext uri="{BB962C8B-B14F-4D97-AF65-F5344CB8AC3E}">
        <p14:creationId xmlns:p14="http://schemas.microsoft.com/office/powerpoint/2010/main" val="1365400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317897-71CB-3165-3880-BD5C1E713E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Object 12" hidden="1">
                        <a:extLst>
                          <a:ext uri="{FF2B5EF4-FFF2-40B4-BE49-F238E27FC236}">
                            <a16:creationId xmlns:a16="http://schemas.microsoft.com/office/drawing/2014/main" id="{8D317897-71CB-3165-3880-BD5C1E713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Navigate to your Gartner Benchmarks homepage via Gartner.com.</a:t>
            </a:r>
            <a:endParaRPr kumimoji="0" sz="14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Note: Use the same navigation to return to in progress and completed benchmark assessments.</a:t>
            </a:r>
            <a:endParaRPr kumimoji="0" sz="1100" b="1" i="0" u="none" strike="noStrike" kern="1200" cap="none" spc="0" normalizeH="0" baseline="0" noProof="0" dirty="0">
              <a:ln>
                <a:noFill/>
              </a:ln>
              <a:solidFill>
                <a:prstClr val="black"/>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18EAF0A0-A887-B21D-4D91-A7267750F9C4}"/>
              </a:ext>
            </a:extLst>
          </p:cNvPr>
          <p:cNvSpPr/>
          <p:nvPr/>
        </p:nvSpPr>
        <p:spPr>
          <a:xfrm>
            <a:off x="6700020" y="1343025"/>
            <a:ext cx="5240343" cy="263355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A164ADE0-7945-CBE3-B377-762B9FFA762D}"/>
              </a:ext>
            </a:extLst>
          </p:cNvPr>
          <p:cNvSpPr/>
          <p:nvPr/>
        </p:nvSpPr>
        <p:spPr>
          <a:xfrm>
            <a:off x="6802744" y="1411525"/>
            <a:ext cx="5033193" cy="496956"/>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Arial" panose="020B0604020202020204"/>
                <a:ea typeface="+mn-ea"/>
                <a:cs typeface="+mn-cs"/>
              </a:rPr>
              <a:t>Option 1:</a:t>
            </a:r>
          </a:p>
        </p:txBody>
      </p:sp>
      <p:sp>
        <p:nvSpPr>
          <p:cNvPr id="8" name="TextBox 7">
            <a:extLst>
              <a:ext uri="{FF2B5EF4-FFF2-40B4-BE49-F238E27FC236}">
                <a16:creationId xmlns:a16="http://schemas.microsoft.com/office/drawing/2014/main" id="{BC847C95-6354-2F6E-B81A-1532E297703A}"/>
              </a:ext>
            </a:extLst>
          </p:cNvPr>
          <p:cNvSpPr txBox="1"/>
          <p:nvPr/>
        </p:nvSpPr>
        <p:spPr>
          <a:xfrm>
            <a:off x="6866010" y="1459948"/>
            <a:ext cx="4129776"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Arial" panose="020B0604020202020204"/>
                <a:ea typeface="+mn-ea"/>
                <a:cs typeface="+mn-cs"/>
              </a:rPr>
              <a:t>Option 2:</a:t>
            </a:r>
          </a:p>
        </p:txBody>
      </p:sp>
      <p:sp>
        <p:nvSpPr>
          <p:cNvPr id="10" name="TextBox 9">
            <a:extLst>
              <a:ext uri="{FF2B5EF4-FFF2-40B4-BE49-F238E27FC236}">
                <a16:creationId xmlns:a16="http://schemas.microsoft.com/office/drawing/2014/main" id="{D86C5B5B-DC20-B04F-30E1-A8637FABADD7}"/>
              </a:ext>
            </a:extLst>
          </p:cNvPr>
          <p:cNvSpPr txBox="1"/>
          <p:nvPr/>
        </p:nvSpPr>
        <p:spPr>
          <a:xfrm>
            <a:off x="632514" y="1966675"/>
            <a:ext cx="5148469"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prstClr val="black"/>
              </a:buClr>
              <a:buSzPts val="1200"/>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lick on “Tools &amp; Benchmark” in the list at the top left end of the page and select “IT Budget”.</a:t>
            </a:r>
          </a:p>
          <a:p>
            <a:pPr marL="171450" marR="0" lvl="0" indent="-171450" algn="l" defTabSz="914400" rtl="0" eaLnBrk="1" fontAlgn="auto" latinLnBrk="0" hangingPunct="1">
              <a:lnSpc>
                <a:spcPct val="100000"/>
              </a:lnSpc>
              <a:spcBef>
                <a:spcPts val="0"/>
              </a:spcBef>
              <a:spcAft>
                <a:spcPts val="0"/>
              </a:spcAft>
              <a:buClr>
                <a:prstClr val="black"/>
              </a:buClr>
              <a:buSzPts val="1200"/>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The page will be redirected to “Gartner Budget &amp; Efficiency Benchmarks.” Select “Launch My Benchmarks”.</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Google Shape;258;p6">
            <a:extLst>
              <a:ext uri="{FF2B5EF4-FFF2-40B4-BE49-F238E27FC236}">
                <a16:creationId xmlns:a16="http://schemas.microsoft.com/office/drawing/2014/main" id="{F0D1C7D7-C7BB-12FA-4C9E-20D1271A2C5B}"/>
              </a:ext>
            </a:extLst>
          </p:cNvPr>
          <p:cNvPicPr preferRelativeResize="0"/>
          <p:nvPr/>
        </p:nvPicPr>
        <p:blipFill rotWithShape="1">
          <a:blip r:embed="rId6">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6" name="Rectangle 15">
            <a:extLst>
              <a:ext uri="{FF2B5EF4-FFF2-40B4-BE49-F238E27FC236}">
                <a16:creationId xmlns:a16="http://schemas.microsoft.com/office/drawing/2014/main"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5" name="Picture 34">
            <a:extLst>
              <a:ext uri="{FF2B5EF4-FFF2-40B4-BE49-F238E27FC236}">
                <a16:creationId xmlns:a16="http://schemas.microsoft.com/office/drawing/2014/main" id="{279AC590-5283-F904-DA01-48B7A5CAE72F}"/>
              </a:ext>
            </a:extLst>
          </p:cNvPr>
          <p:cNvPicPr>
            <a:picLocks noChangeAspect="1"/>
          </p:cNvPicPr>
          <p:nvPr/>
        </p:nvPicPr>
        <p:blipFill>
          <a:blip r:embed="rId7"/>
          <a:stretch>
            <a:fillRect/>
          </a:stretch>
        </p:blipFill>
        <p:spPr>
          <a:xfrm>
            <a:off x="6802745" y="2882111"/>
            <a:ext cx="4893307" cy="951849"/>
          </a:xfrm>
          <a:prstGeom prst="rect">
            <a:avLst/>
          </a:prstGeom>
          <a:ln>
            <a:solidFill>
              <a:schemeClr val="tx1"/>
            </a:solidFill>
          </a:ln>
        </p:spPr>
      </p:pic>
      <p:sp>
        <p:nvSpPr>
          <p:cNvPr id="36" name="TextBox 35">
            <a:extLst>
              <a:ext uri="{FF2B5EF4-FFF2-40B4-BE49-F238E27FC236}">
                <a16:creationId xmlns:a16="http://schemas.microsoft.com/office/drawing/2014/main" id="{6D9C12C4-62B7-0991-2866-80830A01DD35}"/>
              </a:ext>
            </a:extLst>
          </p:cNvPr>
          <p:cNvSpPr txBox="1"/>
          <p:nvPr/>
        </p:nvSpPr>
        <p:spPr>
          <a:xfrm>
            <a:off x="6722418" y="2026096"/>
            <a:ext cx="4938175"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prstClr val="white"/>
              </a:buClr>
              <a:buSzPts val="1200"/>
              <a:buFont typeface="Wingdings" panose="05000000000000000000" pitchFamily="2" charset="2"/>
              <a:buChar char="ü"/>
              <a:tabLst/>
              <a:defRPr/>
            </a:pPr>
            <a:r>
              <a:rPr kumimoji="0" lang="en-US" sz="1200" b="0" i="0" u="none" strike="noStrike" kern="1200" cap="none" spc="0" normalizeH="0" baseline="0" noProof="0" dirty="0">
                <a:ln>
                  <a:noFill/>
                </a:ln>
                <a:solidFill>
                  <a:prstClr val="white"/>
                </a:solidFill>
                <a:effectLst/>
                <a:uLnTx/>
                <a:uFillTx/>
                <a:latin typeface="Arial"/>
                <a:ea typeface="Arial"/>
                <a:cs typeface="Arial"/>
                <a:sym typeface="Arial"/>
              </a:rPr>
              <a:t>Option 2: Search for the “</a:t>
            </a:r>
            <a:r>
              <a:rPr kumimoji="0" lang="en-US" sz="1200" b="0" i="0" u="sng" strike="noStrike" kern="1200" cap="none" spc="0" normalizeH="0" baseline="0" noProof="0" dirty="0">
                <a:ln>
                  <a:noFill/>
                </a:ln>
                <a:solidFill>
                  <a:prstClr val="white"/>
                </a:solidFill>
                <a:effectLst/>
                <a:uLnTx/>
                <a:uFillTx/>
                <a:latin typeface="Arial"/>
                <a:ea typeface="Arial"/>
                <a:cs typeface="Arial"/>
                <a:sym typeface="Arial"/>
                <a:hlinkClick r:id="rId8">
                  <a:extLst>
                    <a:ext uri="{A12FA001-AC4F-418D-AE19-62706E023703}">
                      <ahyp:hlinkClr xmlns:ahyp="http://schemas.microsoft.com/office/drawing/2018/hyperlinkcolor" val="tx"/>
                    </a:ext>
                  </a:extLst>
                </a:hlinkClick>
              </a:rPr>
              <a:t>IT Budget &amp; Efficiency Benchmark</a:t>
            </a:r>
            <a:r>
              <a:rPr kumimoji="0" lang="en-US" sz="1200" b="0" i="0" u="none" strike="noStrike" kern="1200" cap="none" spc="0" normalizeH="0" baseline="0" noProof="0" dirty="0">
                <a:ln>
                  <a:noFill/>
                </a:ln>
                <a:solidFill>
                  <a:prstClr val="white"/>
                </a:solidFill>
                <a:effectLst/>
                <a:uLnTx/>
                <a:uFillTx/>
                <a:latin typeface="Arial"/>
                <a:ea typeface="Arial"/>
                <a:cs typeface="Arial"/>
                <a:sym typeface="Arial"/>
              </a:rPr>
              <a:t>” webpage and click “Launch”.</a:t>
            </a:r>
            <a:endParaRPr kumimoji="0" lang="en-US" sz="1100" b="0" i="0" u="none" strike="noStrike" kern="1200" cap="none" spc="0" normalizeH="0" baseline="0" noProof="0" dirty="0">
              <a:ln>
                <a:noFill/>
              </a:ln>
              <a:solidFill>
                <a:prstClr val="white"/>
              </a:solidFill>
              <a:effectLst/>
              <a:uLnTx/>
              <a:uFillTx/>
              <a:latin typeface="Arial"/>
              <a:ea typeface="Arial"/>
              <a:cs typeface="Arial"/>
              <a:sym typeface="Arial"/>
            </a:endParaRPr>
          </a:p>
        </p:txBody>
      </p:sp>
      <p:sp>
        <p:nvSpPr>
          <p:cNvPr id="38" name="Rectangle 37">
            <a:extLst>
              <a:ext uri="{FF2B5EF4-FFF2-40B4-BE49-F238E27FC236}">
                <a16:creationId xmlns:a16="http://schemas.microsoft.com/office/drawing/2014/main" id="{99B75554-2219-A114-B4CB-BECFA24E080C}"/>
              </a:ext>
            </a:extLst>
          </p:cNvPr>
          <p:cNvSpPr/>
          <p:nvPr/>
        </p:nvSpPr>
        <p:spPr>
          <a:xfrm>
            <a:off x="10100692" y="2797672"/>
            <a:ext cx="1735246" cy="764235"/>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BECEED89-EE9B-9C8C-21C1-4A69191148C6}"/>
              </a:ext>
            </a:extLst>
          </p:cNvPr>
          <p:cNvPicPr>
            <a:picLocks noChangeAspect="1"/>
          </p:cNvPicPr>
          <p:nvPr/>
        </p:nvPicPr>
        <p:blipFill rotWithShape="1">
          <a:blip r:embed="rId9"/>
          <a:srcRect b="19764"/>
          <a:stretch/>
        </p:blipFill>
        <p:spPr>
          <a:xfrm>
            <a:off x="463103" y="2860730"/>
            <a:ext cx="2094155" cy="2146276"/>
          </a:xfrm>
          <a:prstGeom prst="rect">
            <a:avLst/>
          </a:prstGeom>
        </p:spPr>
      </p:pic>
      <p:sp>
        <p:nvSpPr>
          <p:cNvPr id="9" name="Rectangle 8">
            <a:extLst>
              <a:ext uri="{FF2B5EF4-FFF2-40B4-BE49-F238E27FC236}">
                <a16:creationId xmlns:a16="http://schemas.microsoft.com/office/drawing/2014/main" id="{26E02413-845A-60A1-28C1-7E6518FCEEC4}"/>
              </a:ext>
            </a:extLst>
          </p:cNvPr>
          <p:cNvSpPr/>
          <p:nvPr/>
        </p:nvSpPr>
        <p:spPr>
          <a:xfrm>
            <a:off x="474001" y="3803374"/>
            <a:ext cx="2012368" cy="33060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Arrow: Bent-Up 10">
            <a:extLst>
              <a:ext uri="{FF2B5EF4-FFF2-40B4-BE49-F238E27FC236}">
                <a16:creationId xmlns:a16="http://schemas.microsoft.com/office/drawing/2014/main" id="{B42A409B-2893-74B6-43AF-B3F7F0E92202}"/>
              </a:ext>
            </a:extLst>
          </p:cNvPr>
          <p:cNvSpPr/>
          <p:nvPr/>
        </p:nvSpPr>
        <p:spPr>
          <a:xfrm rot="5400000">
            <a:off x="768042" y="3827575"/>
            <a:ext cx="1458342" cy="2071148"/>
          </a:xfrm>
          <a:prstGeom prst="bentUpArrow">
            <a:avLst>
              <a:gd name="adj1" fmla="val 6493"/>
              <a:gd name="adj2" fmla="val 20370"/>
              <a:gd name="adj3" fmla="val 28030"/>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8051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CeZsJi9TpiRFEQoeuSn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E412CC73-04E3-4D47-91E5-0F36A8A5B8BB}" vid="{2F1FBABE-D085-4AAD-B25B-1AD1E287F544}"/>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BA02277D-1A6A-4456-B7BC-E996A1D80F94}"/>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2307BE32-06E0-491B-8735-E606CA70844B}"/>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0EF3E860-F07C-4109-B061-A36F2F68A80E}"/>
    </a:ext>
  </a:extLst>
</a:theme>
</file>

<file path=ppt/theme/theme5.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8E28B07A-5CA3-4B05-8ED4-8BE6676875CD}" vid="{CBE93FDA-08E8-48C6-9797-A4B610ADB8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79E8B9732CD74184965C586DDD0EB5" ma:contentTypeVersion="12" ma:contentTypeDescription="Create a new document." ma:contentTypeScope="" ma:versionID="dc67af40f2111aaf536bc60a3efad8b3">
  <xsd:schema xmlns:xsd="http://www.w3.org/2001/XMLSchema" xmlns:xs="http://www.w3.org/2001/XMLSchema" xmlns:p="http://schemas.microsoft.com/office/2006/metadata/properties" xmlns:ns2="c4e3d003-d0c5-4ac5-8ecd-305468ebb369" xmlns:ns3="f2997ec5-7da2-43f6-b6a0-d35f22de4d21" targetNamespace="http://schemas.microsoft.com/office/2006/metadata/properties" ma:root="true" ma:fieldsID="20b120b65a5d92078c47dd3845e467f8" ns2:_="" ns3:_="">
    <xsd:import namespace="c4e3d003-d0c5-4ac5-8ecd-305468ebb369"/>
    <xsd:import namespace="f2997ec5-7da2-43f6-b6a0-d35f22de4d2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e3d003-d0c5-4ac5-8ecd-305468ebb3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2997ec5-7da2-43f6-b6a0-d35f22de4d2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B3C8F6-A973-4F6F-85F0-2DB5C5C571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e3d003-d0c5-4ac5-8ecd-305468ebb369"/>
    <ds:schemaRef ds:uri="f2997ec5-7da2-43f6-b6a0-d35f22de4d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39EB355-ED5E-46E8-AEB6-4DB263CB42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754</TotalTime>
  <Words>1927</Words>
  <Application>Microsoft Office PowerPoint</Application>
  <PresentationFormat>Widescreen</PresentationFormat>
  <Paragraphs>233</Paragraphs>
  <Slides>21</Slides>
  <Notes>2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2" baseType="lpstr">
      <vt:lpstr>Noto Sans Symbols</vt:lpstr>
      <vt:lpstr>Arial</vt:lpstr>
      <vt:lpstr>Arial Black</vt:lpstr>
      <vt:lpstr>Calibri</vt:lpstr>
      <vt:lpstr>Wingdings</vt:lpstr>
      <vt:lpstr>White bkgrnd master</vt:lpstr>
      <vt:lpstr>Blue bkgrnd master</vt:lpstr>
      <vt:lpstr>White bk accent color options</vt:lpstr>
      <vt:lpstr>Blue bk accent color options</vt:lpstr>
      <vt:lpstr>1_White bkgrnd master</vt:lpstr>
      <vt:lpstr>think-cell Slide</vt:lpstr>
      <vt:lpstr>IT Security Benchmark</vt:lpstr>
      <vt:lpstr>Overview</vt:lpstr>
      <vt:lpstr>IT Budget &amp; Efficiency Tool comprises Enterprise IT budget and IT Security Benchmarking Tool</vt:lpstr>
      <vt:lpstr>Participation Process</vt:lpstr>
      <vt:lpstr>Participation Process</vt:lpstr>
      <vt:lpstr>PowerPoint Presentation</vt:lpstr>
      <vt:lpstr>Step-by-Step Instructions   Launch and Set Up Your Assessment</vt:lpstr>
      <vt:lpstr>IT Budget Tool Location</vt:lpstr>
      <vt:lpstr>Launch and Set Up Your Assessment</vt:lpstr>
      <vt:lpstr>Launch and Set Up Your Assessment (Continued)</vt:lpstr>
      <vt:lpstr>Launch and Set Up Your Assessment (Continued)</vt:lpstr>
      <vt:lpstr>Launch and Set Up Your Assessment (Continued)</vt:lpstr>
      <vt:lpstr>Create Additional Benchmark Assessments</vt:lpstr>
      <vt:lpstr>Survey Delegation</vt:lpstr>
      <vt:lpstr>Recommended Sprint</vt:lpstr>
      <vt:lpstr>7 Sections under IT Budget Tool</vt:lpstr>
      <vt:lpstr>7 Sections under IT Budget Tool - Significance</vt:lpstr>
      <vt:lpstr>Recommended Journey</vt:lpstr>
      <vt:lpstr>Sample report </vt:lpstr>
      <vt:lpstr>Key KPIs Covered</vt:lpstr>
      <vt:lpstr>Recommended Readin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edit Master title style  4 lines of copy,  60 char. max</dc:title>
  <dc:creator>Agrawal,Tanmay Bharat</dc:creator>
  <dc:description>Template Version: 10 January 2022</dc:description>
  <cp:lastModifiedBy>Aditi Sharma</cp:lastModifiedBy>
  <cp:revision>34</cp:revision>
  <dcterms:created xsi:type="dcterms:W3CDTF">2022-11-11T06:06:43Z</dcterms:created>
  <dcterms:modified xsi:type="dcterms:W3CDTF">2023-12-11T14:14:50Z</dcterms:modified>
</cp:coreProperties>
</file>